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3.xml" ContentType="application/vnd.openxmlformats-officedocument.presentationml.notesSlide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6.xml" ContentType="application/vnd.openxmlformats-officedocument.presentationml.notesSlide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tags/tag177.xml" ContentType="application/vnd.openxmlformats-officedocument.presentationml.tags+xml"/>
  <Override PartName="/ppt/notesSlides/notesSlide1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3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5.xml" ContentType="application/vnd.openxmlformats-officedocument.presentationml.notesSlide+xml"/>
  <Override PartName="/ppt/tags/tag185.xml" ContentType="application/vnd.openxmlformats-officedocument.presentationml.tags+xml"/>
  <Override PartName="/ppt/notesSlides/notesSlide16.xml" ContentType="application/vnd.openxmlformats-officedocument.presentationml.notesSlide+xml"/>
  <Override PartName="/ppt/tags/tag186.xml" ContentType="application/vnd.openxmlformats-officedocument.presentationml.tags+xml"/>
  <Override PartName="/ppt/notesSlides/notesSlide17.xml" ContentType="application/vnd.openxmlformats-officedocument.presentationml.notesSlide+xml"/>
  <Override PartName="/ppt/tags/tag187.xml" ContentType="application/vnd.openxmlformats-officedocument.presentationml.tags+xml"/>
  <Override PartName="/ppt/notesSlides/notesSlide18.xml" ContentType="application/vnd.openxmlformats-officedocument.presentationml.notesSlide+xml"/>
  <Override PartName="/ppt/tags/tag188.xml" ContentType="application/vnd.openxmlformats-officedocument.presentationml.tags+xml"/>
  <Override PartName="/ppt/notesSlides/notesSlide19.xml" ContentType="application/vnd.openxmlformats-officedocument.presentationml.notesSlide+xml"/>
  <Override PartName="/ppt/tags/tag189.xml" ContentType="application/vnd.openxmlformats-officedocument.presentationml.tags+xml"/>
  <Override PartName="/ppt/notesSlides/notesSlide20.xml" ContentType="application/vnd.openxmlformats-officedocument.presentationml.notesSlide+xml"/>
  <Override PartName="/ppt/tags/tag190.xml" ContentType="application/vnd.openxmlformats-officedocument.presentationml.tags+xml"/>
  <Override PartName="/ppt/notesSlides/notesSlide21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22.xml" ContentType="application/vnd.openxmlformats-officedocument.presentationml.notesSlide+xml"/>
  <Override PartName="/ppt/tags/tag193.xml" ContentType="application/vnd.openxmlformats-officedocument.presentationml.tags+xml"/>
  <Override PartName="/ppt/notesSlides/notesSlide23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24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</p:sldMasterIdLst>
  <p:notesMasterIdLst>
    <p:notesMasterId r:id="rId42"/>
  </p:notesMasterIdLst>
  <p:handoutMasterIdLst>
    <p:handoutMasterId r:id="rId43"/>
  </p:handoutMasterIdLst>
  <p:sldIdLst>
    <p:sldId id="271" r:id="rId6"/>
    <p:sldId id="284" r:id="rId7"/>
    <p:sldId id="286" r:id="rId8"/>
    <p:sldId id="352" r:id="rId9"/>
    <p:sldId id="299" r:id="rId10"/>
    <p:sldId id="353" r:id="rId11"/>
    <p:sldId id="256" r:id="rId12"/>
    <p:sldId id="257" r:id="rId13"/>
    <p:sldId id="260" r:id="rId14"/>
    <p:sldId id="345" r:id="rId15"/>
    <p:sldId id="261" r:id="rId16"/>
    <p:sldId id="318" r:id="rId17"/>
    <p:sldId id="354" r:id="rId18"/>
    <p:sldId id="335" r:id="rId19"/>
    <p:sldId id="355" r:id="rId20"/>
    <p:sldId id="336" r:id="rId21"/>
    <p:sldId id="313" r:id="rId22"/>
    <p:sldId id="314" r:id="rId23"/>
    <p:sldId id="356" r:id="rId24"/>
    <p:sldId id="349" r:id="rId25"/>
    <p:sldId id="357" r:id="rId26"/>
    <p:sldId id="292" r:id="rId27"/>
    <p:sldId id="351" r:id="rId28"/>
    <p:sldId id="350" r:id="rId29"/>
    <p:sldId id="310" r:id="rId30"/>
    <p:sldId id="358" r:id="rId31"/>
    <p:sldId id="323" r:id="rId32"/>
    <p:sldId id="359" r:id="rId33"/>
    <p:sldId id="361" r:id="rId34"/>
    <p:sldId id="347" r:id="rId35"/>
    <p:sldId id="362" r:id="rId36"/>
    <p:sldId id="293" r:id="rId37"/>
    <p:sldId id="360" r:id="rId38"/>
    <p:sldId id="294" r:id="rId39"/>
    <p:sldId id="348" r:id="rId40"/>
    <p:sldId id="296" r:id="rId41"/>
  </p:sldIdLst>
  <p:sldSz cx="12192000" cy="6858000"/>
  <p:notesSz cx="6797675" cy="9928225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9A25DEB-D0D5-4A89-B370-02564A4E95E7}">
          <p14:sldIdLst>
            <p14:sldId id="271"/>
          </p14:sldIdLst>
        </p14:section>
        <p14:section name="Content / agenda slide" id="{B2D49DD4-5508-4B31-9F03-D15F56E85690}">
          <p14:sldIdLst>
            <p14:sldId id="284"/>
            <p14:sldId id="286"/>
            <p14:sldId id="352"/>
            <p14:sldId id="299"/>
            <p14:sldId id="353"/>
            <p14:sldId id="256"/>
            <p14:sldId id="257"/>
            <p14:sldId id="260"/>
            <p14:sldId id="345"/>
            <p14:sldId id="261"/>
            <p14:sldId id="318"/>
            <p14:sldId id="354"/>
            <p14:sldId id="335"/>
            <p14:sldId id="355"/>
            <p14:sldId id="336"/>
            <p14:sldId id="313"/>
            <p14:sldId id="314"/>
            <p14:sldId id="356"/>
            <p14:sldId id="349"/>
            <p14:sldId id="357"/>
            <p14:sldId id="292"/>
            <p14:sldId id="351"/>
            <p14:sldId id="350"/>
            <p14:sldId id="310"/>
            <p14:sldId id="358"/>
            <p14:sldId id="323"/>
            <p14:sldId id="359"/>
            <p14:sldId id="361"/>
            <p14:sldId id="347"/>
            <p14:sldId id="362"/>
            <p14:sldId id="293"/>
            <p14:sldId id="360"/>
            <p14:sldId id="294"/>
            <p14:sldId id="348"/>
            <p14:sldId id="296"/>
          </p14:sldIdLst>
        </p14:section>
        <p14:section name="Divider slides" id="{0585301E-2F9B-425E-920B-E8B9B7F449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698">
          <p15:clr>
            <a:srgbClr val="A4A3A4"/>
          </p15:clr>
        </p15:guide>
        <p15:guide id="2" pos="3952">
          <p15:clr>
            <a:srgbClr val="A4A3A4"/>
          </p15:clr>
        </p15:guide>
        <p15:guide id="3" pos="7344">
          <p15:clr>
            <a:srgbClr val="A4A3A4"/>
          </p15:clr>
        </p15:guide>
        <p15:guide id="4" orient="horz" pos="3703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2206">
          <p15:clr>
            <a:srgbClr val="A4A3A4"/>
          </p15:clr>
        </p15:guide>
        <p15:guide id="7" orient="horz" pos="889">
          <p15:clr>
            <a:srgbClr val="A4A3A4"/>
          </p15:clr>
        </p15:guide>
        <p15:guide id="8" orient="horz" pos="409">
          <p15:clr>
            <a:srgbClr val="A4A3A4"/>
          </p15:clr>
        </p15:guide>
        <p15:guide id="9" orient="horz" pos="210">
          <p15:clr>
            <a:srgbClr val="A4A3A4"/>
          </p15:clr>
        </p15:guide>
        <p15:guide id="10" pos="3942">
          <p15:clr>
            <a:srgbClr val="A4A3A4"/>
          </p15:clr>
        </p15:guide>
        <p15:guide id="11" pos="7341">
          <p15:clr>
            <a:srgbClr val="A4A3A4"/>
          </p15:clr>
        </p15:guide>
        <p15:guide id="12" pos="339">
          <p15:clr>
            <a:srgbClr val="A4A3A4"/>
          </p15:clr>
        </p15:guide>
        <p15:guide id="13" pos="3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orski, Nicole (E CC W)" initials="SN(CW" lastIdx="9" clrIdx="0"/>
  <p:cmAuthor id="1" name="Petersen, Sanne Frimor (WP CC IC)" initials="S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9B1"/>
    <a:srgbClr val="C02533"/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70D22E-040F-626E-DF20-E3FE110949F0}" v="66" dt="2023-10-19T11:20:05.105"/>
    <p1510:client id="{A51B75F7-CA2A-48EE-89F2-A985A1975A94}" v="80" dt="2023-03-07T16:37:35.4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77"/>
      </p:cViewPr>
      <p:guideLst>
        <p:guide orient="horz" pos="3698"/>
        <p:guide pos="3952"/>
        <p:guide pos="7344"/>
        <p:guide orient="horz" pos="3703"/>
        <p:guide orient="horz" pos="2387"/>
        <p:guide orient="horz" pos="2206"/>
        <p:guide orient="horz" pos="889"/>
        <p:guide orient="horz" pos="409"/>
        <p:guide orient="horz" pos="210"/>
        <p:guide pos="3942"/>
        <p:guide pos="7341"/>
        <p:guide pos="339"/>
        <p:guide pos="37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nd-Larsen, Taus (SGRE TE N NT SYC&amp;MAT)" userId="909f4c56-f0bd-48e2-b5e6-c85fd07560b7" providerId="ADAL" clId="{A51B75F7-CA2A-48EE-89F2-A985A1975A94}"/>
    <pc:docChg chg="modSld sldOrd">
      <pc:chgData name="Wind-Larsen, Taus (SGRE TE N NT SYC&amp;MAT)" userId="909f4c56-f0bd-48e2-b5e6-c85fd07560b7" providerId="ADAL" clId="{A51B75F7-CA2A-48EE-89F2-A985A1975A94}" dt="2023-03-07T16:37:28.063" v="1"/>
      <pc:docMkLst>
        <pc:docMk/>
      </pc:docMkLst>
      <pc:sldChg chg="ord">
        <pc:chgData name="Wind-Larsen, Taus (SGRE TE N NT SYC&amp;MAT)" userId="909f4c56-f0bd-48e2-b5e6-c85fd07560b7" providerId="ADAL" clId="{A51B75F7-CA2A-48EE-89F2-A985A1975A94}" dt="2023-03-07T16:37:28.063" v="1"/>
        <pc:sldMkLst>
          <pc:docMk/>
          <pc:sldMk cId="3672746191" sldId="313"/>
        </pc:sldMkLst>
      </pc:sldChg>
    </pc:docChg>
  </pc:docChgLst>
  <pc:docChgLst>
    <pc:chgData name="Westenholz, Vibeke Lund (SGRE COG P OF TP)" userId="S::vibeke.westenholz@siemensgamesa.com::be2c167c-cc21-4c23-92b1-78ba209712f0" providerId="AD" clId="Web-{3F7DA618-F2FD-3752-8F8E-8002EBA5C971}"/>
    <pc:docChg chg="modSld">
      <pc:chgData name="Westenholz, Vibeke Lund (SGRE COG P OF TP)" userId="S::vibeke.westenholz@siemensgamesa.com::be2c167c-cc21-4c23-92b1-78ba209712f0" providerId="AD" clId="Web-{3F7DA618-F2FD-3752-8F8E-8002EBA5C971}" dt="2022-02-22T10:36:17.882" v="22" actId="20577"/>
      <pc:docMkLst>
        <pc:docMk/>
      </pc:docMkLst>
      <pc:sldChg chg="addSp delSp modSp">
        <pc:chgData name="Westenholz, Vibeke Lund (SGRE COG P OF TP)" userId="S::vibeke.westenholz@siemensgamesa.com::be2c167c-cc21-4c23-92b1-78ba209712f0" providerId="AD" clId="Web-{3F7DA618-F2FD-3752-8F8E-8002EBA5C971}" dt="2022-02-22T10:36:17.882" v="22" actId="20577"/>
        <pc:sldMkLst>
          <pc:docMk/>
          <pc:sldMk cId="4087205575" sldId="323"/>
        </pc:sldMkLst>
        <pc:spChg chg="mod">
          <ac:chgData name="Westenholz, Vibeke Lund (SGRE COG P OF TP)" userId="S::vibeke.westenholz@siemensgamesa.com::be2c167c-cc21-4c23-92b1-78ba209712f0" providerId="AD" clId="Web-{3F7DA618-F2FD-3752-8F8E-8002EBA5C971}" dt="2022-02-22T10:36:17.882" v="22" actId="20577"/>
          <ac:spMkLst>
            <pc:docMk/>
            <pc:sldMk cId="4087205575" sldId="323"/>
            <ac:spMk id="2" creationId="{54329A1D-5733-4D01-B538-36178393AF26}"/>
          </ac:spMkLst>
        </pc:spChg>
        <pc:spChg chg="add del mod">
          <ac:chgData name="Westenholz, Vibeke Lund (SGRE COG P OF TP)" userId="S::vibeke.westenholz@siemensgamesa.com::be2c167c-cc21-4c23-92b1-78ba209712f0" providerId="AD" clId="Web-{3F7DA618-F2FD-3752-8F8E-8002EBA5C971}" dt="2022-02-22T10:34:34.098" v="2"/>
          <ac:spMkLst>
            <pc:docMk/>
            <pc:sldMk cId="4087205575" sldId="323"/>
            <ac:spMk id="3" creationId="{CEF0E2B4-6364-4629-91F4-823DA7F8F284}"/>
          </ac:spMkLst>
        </pc:spChg>
        <pc:picChg chg="add mod">
          <ac:chgData name="Westenholz, Vibeke Lund (SGRE COG P OF TP)" userId="S::vibeke.westenholz@siemensgamesa.com::be2c167c-cc21-4c23-92b1-78ba209712f0" providerId="AD" clId="Web-{3F7DA618-F2FD-3752-8F8E-8002EBA5C971}" dt="2022-02-22T10:35:01.130" v="3"/>
          <ac:picMkLst>
            <pc:docMk/>
            <pc:sldMk cId="4087205575" sldId="323"/>
            <ac:picMk id="6" creationId="{191E5F50-010B-4C4B-A478-AA0E412665B7}"/>
          </ac:picMkLst>
        </pc:picChg>
      </pc:sldChg>
    </pc:docChg>
  </pc:docChgLst>
  <pc:docChgLst>
    <pc:chgData name="Espersen, Birgitte Hemdorff (SGRE COG N P PD&amp;E CC&amp;S)" userId="S::birgitte.espersen@siemensgamesa.com::4cdf33e7-3ce5-4877-990d-03f5377e743b" providerId="AD" clId="Web-{95A0A3F5-8D17-D5C1-2565-21915F8EF5D0}"/>
    <pc:docChg chg="modSld">
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<pc:docMkLst>
        <pc:docMk/>
      </pc:docMkLst>
      <pc:sldChg chg="modSp">
        <p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  <pc:sldMkLst>
          <pc:docMk/>
          <pc:sldMk cId="1286349833" sldId="292"/>
        </pc:sldMkLst>
        <pc:spChg chg="mod">
          <ac:chgData name="Espersen, Birgitte Hemdorff (SGRE COG N P PD&amp;E CC&amp;S)" userId="S::birgitte.espersen@siemensgamesa.com::4cdf33e7-3ce5-4877-990d-03f5377e743b" providerId="AD" clId="Web-{95A0A3F5-8D17-D5C1-2565-21915F8EF5D0}" dt="2023-02-08T11:24:00.839" v="9" actId="1076"/>
          <ac:spMkLst>
            <pc:docMk/>
            <pc:sldMk cId="1286349833" sldId="292"/>
            <ac:spMk id="4" creationId="{7B1880A8-F560-4971-93F0-7C14A34CF76C}"/>
          </ac:spMkLst>
        </pc:spChg>
        <pc:graphicFrameChg chg="mod modGraphic">
          <ac:chgData name="Espersen, Birgitte Hemdorff (SGRE COG N P PD&amp;E CC&amp;S)" userId="S::birgitte.espersen@siemensgamesa.com::4cdf33e7-3ce5-4877-990d-03f5377e743b" providerId="AD" clId="Web-{95A0A3F5-8D17-D5C1-2565-21915F8EF5D0}" dt="2023-02-08T11:23:42.932" v="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</pc:docChg>
  </pc:docChgLst>
  <pc:docChgLst>
    <pc:chgData name="Wind-Larsen, Taus (SGRE TE N NT SYC&amp;MAT)" userId="S::taus.wind-larsen@siemensgamesa.com::909f4c56-f0bd-48e2-b5e6-c85fd07560b7" providerId="AD" clId="Web-{9E70D22E-040F-626E-DF20-E3FE110949F0}"/>
    <pc:docChg chg="modSld">
      <pc:chgData name="Wind-Larsen, Taus (SGRE TE N NT SYC&amp;MAT)" userId="S::taus.wind-larsen@siemensgamesa.com::909f4c56-f0bd-48e2-b5e6-c85fd07560b7" providerId="AD" clId="Web-{9E70D22E-040F-626E-DF20-E3FE110949F0}" dt="2023-10-19T11:20:02.152" v="20"/>
      <pc:docMkLst>
        <pc:docMk/>
      </pc:docMkLst>
      <pc:sldChg chg="modSp">
        <pc:chgData name="Wind-Larsen, Taus (SGRE TE N NT SYC&amp;MAT)" userId="S::taus.wind-larsen@siemensgamesa.com::909f4c56-f0bd-48e2-b5e6-c85fd07560b7" providerId="AD" clId="Web-{9E70D22E-040F-626E-DF20-E3FE110949F0}" dt="2023-10-19T11:20:02.152" v="20"/>
        <pc:sldMkLst>
          <pc:docMk/>
          <pc:sldMk cId="1209066160" sldId="314"/>
        </pc:sldMkLst>
        <pc:graphicFrameChg chg="mod modGraphic">
          <ac:chgData name="Wind-Larsen, Taus (SGRE TE N NT SYC&amp;MAT)" userId="S::taus.wind-larsen@siemensgamesa.com::909f4c56-f0bd-48e2-b5e6-c85fd07560b7" providerId="AD" clId="Web-{9E70D22E-040F-626E-DF20-E3FE110949F0}" dt="2023-10-19T11:20:02.152" v="20"/>
          <ac:graphicFrameMkLst>
            <pc:docMk/>
            <pc:sldMk cId="1209066160" sldId="314"/>
            <ac:graphicFrameMk id="12" creationId="{4F2EECDB-E909-4AE8-8DB1-8C0FF2702131}"/>
          </ac:graphicFrameMkLst>
        </pc:graphicFrameChg>
      </pc:sldChg>
    </pc:docChg>
  </pc:docChgLst>
  <pc:docChgLst>
    <pc:chgData name="Wind-Larsen, Taus (SGRE TE N NT SYC&amp;MAT)" userId="909f4c56-f0bd-48e2-b5e6-c85fd07560b7" providerId="ADAL" clId="{7482155F-9D12-4948-A2BA-96C984CD98A8}"/>
    <pc:docChg chg="undo custSel addSld modSld sldOrd modSection">
      <pc:chgData name="Wind-Larsen, Taus (SGRE TE N NT SYC&amp;MAT)" userId="909f4c56-f0bd-48e2-b5e6-c85fd07560b7" providerId="ADAL" clId="{7482155F-9D12-4948-A2BA-96C984CD98A8}" dt="2023-02-03T17:33:40.974" v="10336" actId="20577"/>
      <pc:docMkLst>
        <pc:docMk/>
      </pc:docMkLst>
      <pc:sldChg chg="delSp mod">
        <pc:chgData name="Wind-Larsen, Taus (SGRE TE N NT SYC&amp;MAT)" userId="909f4c56-f0bd-48e2-b5e6-c85fd07560b7" providerId="ADAL" clId="{7482155F-9D12-4948-A2BA-96C984CD98A8}" dt="2023-02-03T17:12:47.066" v="9995" actId="478"/>
        <pc:sldMkLst>
          <pc:docMk/>
          <pc:sldMk cId="1109116256" sldId="257"/>
        </pc:sldMkLst>
        <pc:spChg chg="del">
          <ac:chgData name="Wind-Larsen, Taus (SGRE TE N NT SYC&amp;MAT)" userId="909f4c56-f0bd-48e2-b5e6-c85fd07560b7" providerId="ADAL" clId="{7482155F-9D12-4948-A2BA-96C984CD98A8}" dt="2023-02-03T17:12:47.066" v="9995" actId="478"/>
          <ac:spMkLst>
            <pc:docMk/>
            <pc:sldMk cId="1109116256" sldId="257"/>
            <ac:spMk id="5" creationId="{8F5BCF36-3EBA-4F3A-BC57-8863681853AD}"/>
          </ac:spMkLst>
        </pc:spChg>
      </pc:sldChg>
      <pc:sldChg chg="delSp mod">
        <pc:chgData name="Wind-Larsen, Taus (SGRE TE N NT SYC&amp;MAT)" userId="909f4c56-f0bd-48e2-b5e6-c85fd07560b7" providerId="ADAL" clId="{7482155F-9D12-4948-A2BA-96C984CD98A8}" dt="2023-02-03T17:12:40.800" v="9994" actId="478"/>
        <pc:sldMkLst>
          <pc:docMk/>
          <pc:sldMk cId="469205521" sldId="260"/>
        </pc:sldMkLst>
        <pc:spChg chg="del">
          <ac:chgData name="Wind-Larsen, Taus (SGRE TE N NT SYC&amp;MAT)" userId="909f4c56-f0bd-48e2-b5e6-c85fd07560b7" providerId="ADAL" clId="{7482155F-9D12-4948-A2BA-96C984CD98A8}" dt="2023-02-03T17:12:40.800" v="9994" actId="478"/>
          <ac:spMkLst>
            <pc:docMk/>
            <pc:sldMk cId="469205521" sldId="260"/>
            <ac:spMk id="12" creationId="{D580B207-30E7-4BF7-A013-C2B82C8EB9CC}"/>
          </ac:spMkLst>
        </pc:spChg>
      </pc:sldChg>
      <pc:sldChg chg="delSp modSp mod">
        <pc:chgData name="Wind-Larsen, Taus (SGRE TE N NT SYC&amp;MAT)" userId="909f4c56-f0bd-48e2-b5e6-c85fd07560b7" providerId="ADAL" clId="{7482155F-9D12-4948-A2BA-96C984CD98A8}" dt="2023-02-03T17:13:10.991" v="9998" actId="14100"/>
        <pc:sldMkLst>
          <pc:docMk/>
          <pc:sldMk cId="3526056995" sldId="261"/>
        </pc:sldMkLst>
        <pc:spChg chg="mod">
          <ac:chgData name="Wind-Larsen, Taus (SGRE TE N NT SYC&amp;MAT)" userId="909f4c56-f0bd-48e2-b5e6-c85fd07560b7" providerId="ADAL" clId="{7482155F-9D12-4948-A2BA-96C984CD98A8}" dt="2023-02-03T17:13:10.991" v="9998" actId="14100"/>
          <ac:spMkLst>
            <pc:docMk/>
            <pc:sldMk cId="3526056995" sldId="261"/>
            <ac:spMk id="7" creationId="{1AD89707-4C20-3063-8BEC-10F8F0237226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3:06.805" v="9997" actId="478"/>
          <ac:spMkLst>
            <pc:docMk/>
            <pc:sldMk cId="3526056995" sldId="261"/>
            <ac:spMk id="8" creationId="{9519D6DD-F778-4EF2-BA7B-7BDC8117A591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22.250" v="9990" actId="478"/>
          <ac:spMkLst>
            <pc:docMk/>
            <pc:sldMk cId="3526056995" sldId="261"/>
            <ac:spMk id="10" creationId="{FF9BAB80-A8E2-4387-BC8B-DBDF8AA45F63}"/>
          </ac:spMkLst>
        </pc:spChg>
      </pc:sldChg>
      <pc:sldChg chg="modSp mod">
        <pc:chgData name="Wind-Larsen, Taus (SGRE TE N NT SYC&amp;MAT)" userId="909f4c56-f0bd-48e2-b5e6-c85fd07560b7" providerId="ADAL" clId="{7482155F-9D12-4948-A2BA-96C984CD98A8}" dt="2023-02-03T17:30:15.827" v="10209" actId="20577"/>
        <pc:sldMkLst>
          <pc:docMk/>
          <pc:sldMk cId="3563952106" sldId="284"/>
        </pc:sldMkLst>
        <pc:spChg chg="mod">
          <ac:chgData name="Wind-Larsen, Taus (SGRE TE N NT SYC&amp;MAT)" userId="909f4c56-f0bd-48e2-b5e6-c85fd07560b7" providerId="ADAL" clId="{7482155F-9D12-4948-A2BA-96C984CD98A8}" dt="2023-02-03T17:30:15.827" v="10209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modSp mod">
        <pc:chgData name="Wind-Larsen, Taus (SGRE TE N NT SYC&amp;MAT)" userId="909f4c56-f0bd-48e2-b5e6-c85fd07560b7" providerId="ADAL" clId="{7482155F-9D12-4948-A2BA-96C984CD98A8}" dt="2023-02-03T17:33:40.974" v="10336" actId="20577"/>
        <pc:sldMkLst>
          <pc:docMk/>
          <pc:sldMk cId="1286349833" sldId="292"/>
        </pc:sldMkLst>
        <pc:spChg chg="mod">
          <ac:chgData name="Wind-Larsen, Taus (SGRE TE N NT SYC&amp;MAT)" userId="909f4c56-f0bd-48e2-b5e6-c85fd07560b7" providerId="ADAL" clId="{7482155F-9D12-4948-A2BA-96C984CD98A8}" dt="2023-02-03T17:33:40.974" v="10336" actId="20577"/>
          <ac:spMkLst>
            <pc:docMk/>
            <pc:sldMk cId="1286349833" sldId="292"/>
            <ac:spMk id="24" creationId="{791BE622-C43F-4F53-9EF7-AE95C277AB41}"/>
          </ac:spMkLst>
        </pc:spChg>
        <pc:graphicFrameChg chg="modGraphic">
          <ac:chgData name="Wind-Larsen, Taus (SGRE TE N NT SYC&amp;MAT)" userId="909f4c56-f0bd-48e2-b5e6-c85fd07560b7" providerId="ADAL" clId="{7482155F-9D12-4948-A2BA-96C984CD98A8}" dt="2023-02-03T16:21:11.505" v="5062" actId="2057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modSp mod">
        <pc:chgData name="Wind-Larsen, Taus (SGRE TE N NT SYC&amp;MAT)" userId="909f4c56-f0bd-48e2-b5e6-c85fd07560b7" providerId="ADAL" clId="{7482155F-9D12-4948-A2BA-96C984CD98A8}" dt="2023-02-03T17:23:43.663" v="10087" actId="13926"/>
        <pc:sldMkLst>
          <pc:docMk/>
          <pc:sldMk cId="1840042121" sldId="293"/>
        </pc:sldMkLst>
        <pc:spChg chg="mod">
          <ac:chgData name="Wind-Larsen, Taus (SGRE TE N NT SYC&amp;MAT)" userId="909f4c56-f0bd-48e2-b5e6-c85fd07560b7" providerId="ADAL" clId="{7482155F-9D12-4948-A2BA-96C984CD98A8}" dt="2023-02-03T17:23:43.663" v="10087" actId="13926"/>
          <ac:spMkLst>
            <pc:docMk/>
            <pc:sldMk cId="1840042121" sldId="293"/>
            <ac:spMk id="10" creationId="{BD5C9BD0-DEBA-441F-9811-E50C4D0B74CF}"/>
          </ac:spMkLst>
        </pc:spChg>
      </pc:sldChg>
      <pc:sldChg chg="addSp modSp mod">
        <pc:chgData name="Wind-Larsen, Taus (SGRE TE N NT SYC&amp;MAT)" userId="909f4c56-f0bd-48e2-b5e6-c85fd07560b7" providerId="ADAL" clId="{7482155F-9D12-4948-A2BA-96C984CD98A8}" dt="2023-02-03T16:29:55.697" v="6045" actId="1076"/>
        <pc:sldMkLst>
          <pc:docMk/>
          <pc:sldMk cId="1468755633" sldId="299"/>
        </pc:sldMkLst>
        <pc:spChg chg="add mod">
          <ac:chgData name="Wind-Larsen, Taus (SGRE TE N NT SYC&amp;MAT)" userId="909f4c56-f0bd-48e2-b5e6-c85fd07560b7" providerId="ADAL" clId="{7482155F-9D12-4948-A2BA-96C984CD98A8}" dt="2023-02-03T16:29:30.291" v="6042" actId="1076"/>
          <ac:spMkLst>
            <pc:docMk/>
            <pc:sldMk cId="1468755633" sldId="299"/>
            <ac:spMk id="2" creationId="{E88AA7DB-F81A-4E6A-B717-70855194D7E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9:55.697" v="6045" actId="1076"/>
          <ac:spMkLst>
            <pc:docMk/>
            <pc:sldMk cId="1468755633" sldId="299"/>
            <ac:spMk id="4" creationId="{3F2A2BFC-49FE-4E81-A31B-E79625429A58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4:39.092" v="5990"/>
          <ac:spMkLst>
            <pc:docMk/>
            <pc:sldMk cId="1468755633" sldId="299"/>
            <ac:spMk id="5" creationId="{E3062CDB-8508-405E-BA3B-B4FD18012F6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29:37.841" v="6044" actId="1076"/>
          <ac:spMkLst>
            <pc:docMk/>
            <pc:sldMk cId="1468755633" sldId="299"/>
            <ac:spMk id="9" creationId="{14CE2AEB-7EE8-473F-8D24-FDFEC13E6DB1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24:39.108" v="5999"/>
          <ac:graphicFrameMkLst>
            <pc:docMk/>
            <pc:sldMk cId="1468755633" sldId="299"/>
            <ac:graphicFrameMk id="6" creationId="{51651E72-30EC-4BFC-8D3E-2097779D8060}"/>
          </ac:graphicFrameMkLst>
        </pc:graphicFrameChg>
        <pc:picChg chg="add mod ord">
          <ac:chgData name="Wind-Larsen, Taus (SGRE TE N NT SYC&amp;MAT)" userId="909f4c56-f0bd-48e2-b5e6-c85fd07560b7" providerId="ADAL" clId="{7482155F-9D12-4948-A2BA-96C984CD98A8}" dt="2023-02-03T16:26:13.789" v="6010" actId="14100"/>
          <ac:picMkLst>
            <pc:docMk/>
            <pc:sldMk cId="1468755633" sldId="299"/>
            <ac:picMk id="7" creationId="{05692F8F-1529-4BFB-8453-4B66A5485EFA}"/>
          </ac:picMkLst>
        </pc:picChg>
        <pc:picChg chg="mod">
          <ac:chgData name="Wind-Larsen, Taus (SGRE TE N NT SYC&amp;MAT)" userId="909f4c56-f0bd-48e2-b5e6-c85fd07560b7" providerId="ADAL" clId="{7482155F-9D12-4948-A2BA-96C984CD98A8}" dt="2023-02-03T16:24:39.092" v="5991"/>
          <ac:picMkLst>
            <pc:docMk/>
            <pc:sldMk cId="1468755633" sldId="299"/>
            <ac:picMk id="41989" creationId="{8117AEE1-82A1-4218-AFC5-5CA0C4CCE8CD}"/>
          </ac:picMkLst>
        </pc:picChg>
      </pc:sldChg>
      <pc:sldChg chg="modSp mod">
        <pc:chgData name="Wind-Larsen, Taus (SGRE TE N NT SYC&amp;MAT)" userId="909f4c56-f0bd-48e2-b5e6-c85fd07560b7" providerId="ADAL" clId="{7482155F-9D12-4948-A2BA-96C984CD98A8}" dt="2023-02-03T17:17:58.181" v="10003" actId="20577"/>
        <pc:sldMkLst>
          <pc:docMk/>
          <pc:sldMk cId="284083800" sldId="310"/>
        </pc:sldMkLst>
        <pc:spChg chg="mod">
          <ac:chgData name="Wind-Larsen, Taus (SGRE TE N NT SYC&amp;MAT)" userId="909f4c56-f0bd-48e2-b5e6-c85fd07560b7" providerId="ADAL" clId="{7482155F-9D12-4948-A2BA-96C984CD98A8}" dt="2023-02-03T17:17:58.181" v="10003" actId="20577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17:10.357" v="1000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6:43:25.318" v="9988"/>
        <pc:sldMkLst>
          <pc:docMk/>
          <pc:sldMk cId="3672746191" sldId="313"/>
        </pc:sldMkLst>
        <pc:spChg chg="mod ord">
          <ac:chgData name="Wind-Larsen, Taus (SGRE TE N NT SYC&amp;MAT)" userId="909f4c56-f0bd-48e2-b5e6-c85fd07560b7" providerId="ADAL" clId="{7482155F-9D12-4948-A2BA-96C984CD98A8}" dt="2023-02-03T16:43:25.302" v="9974" actId="948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0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2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6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26"/>
          <ac:spMkLst>
            <pc:docMk/>
            <pc:sldMk cId="3672746191" sldId="313"/>
            <ac:spMk id="6" creationId="{FB9CFFEC-C97F-4015-BB00-142261497CAB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05.406" v="4816"/>
          <ac:spMkLst>
            <pc:docMk/>
            <pc:sldMk cId="3672746191" sldId="313"/>
            <ac:spMk id="8" creationId="{94A683BE-A023-4BD2-BC45-39FBCAA7CD5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25.370" v="4905"/>
          <ac:spMkLst>
            <pc:docMk/>
            <pc:sldMk cId="3672746191" sldId="313"/>
            <ac:spMk id="9" creationId="{B0737D3F-C01B-4114-A258-78C5C2C50734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9:40.357" v="4994"/>
          <ac:spMkLst>
            <pc:docMk/>
            <pc:sldMk cId="3672746191" sldId="313"/>
            <ac:spMk id="10" creationId="{D10B091C-EDB0-4F23-A5D9-2EF5A3FDB41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11.302" v="9934"/>
          <ac:spMkLst>
            <pc:docMk/>
            <pc:sldMk cId="3672746191" sldId="313"/>
            <ac:spMk id="11" creationId="{A6A93498-D709-4606-93BB-0C3A4FCE74B9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33:42.909" v="7488" actId="478"/>
          <ac:spMkLst>
            <pc:docMk/>
            <pc:sldMk cId="3672746191" sldId="313"/>
            <ac:spMk id="21" creationId="{19A9172B-7BFC-4E11-BDE5-5904FE9AB29E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43:11.302" v="9943"/>
          <ac:spMkLst>
            <pc:docMk/>
            <pc:sldMk cId="3672746191" sldId="313"/>
            <ac:spMk id="22" creationId="{DCB4E8C8-EECC-43C2-8C2C-221CF3F69B77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2"/>
          <ac:spMkLst>
            <pc:docMk/>
            <pc:sldMk cId="3672746191" sldId="313"/>
            <ac:spMk id="29" creationId="{574F7830-3277-4CAD-98A5-F693E90BB130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1"/>
          <ac:spMkLst>
            <pc:docMk/>
            <pc:sldMk cId="3672746191" sldId="313"/>
            <ac:spMk id="31" creationId="{1391917A-2AE4-4098-82E0-056E2DBDF031}"/>
          </ac:spMkLst>
        </pc:spChg>
        <pc:spChg chg="del mod">
          <ac:chgData name="Wind-Larsen, Taus (SGRE TE N NT SYC&amp;MAT)" userId="909f4c56-f0bd-48e2-b5e6-c85fd07560b7" providerId="ADAL" clId="{7482155F-9D12-4948-A2BA-96C984CD98A8}" dt="2023-02-03T16:19:55.358" v="4997"/>
          <ac:spMkLst>
            <pc:docMk/>
            <pc:sldMk cId="3672746191" sldId="313"/>
            <ac:spMk id="39" creationId="{DDAC7749-6B82-4800-A3D3-8D870FB2659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39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40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11.302" v="9938"/>
          <ac:spMkLst>
            <pc:docMk/>
            <pc:sldMk cId="3672746191" sldId="313"/>
            <ac:spMk id="46" creationId="{C4A7604B-C9E6-4085-B19C-DBC83134F05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25.318" v="9980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3:25.318" v="9986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25.318" v="9978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3:25.318" v="9984"/>
          <ac:spMkLst>
            <pc:docMk/>
            <pc:sldMk cId="3672746191" sldId="313"/>
            <ac:spMk id="52" creationId="{184377C7-E3A0-4F75-9525-93272C2BD576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43:25.318" v="9988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mod ord">
          <ac:chgData name="Wind-Larsen, Taus (SGRE TE N NT SYC&amp;MAT)" userId="909f4c56-f0bd-48e2-b5e6-c85fd07560b7" providerId="ADAL" clId="{7482155F-9D12-4948-A2BA-96C984CD98A8}" dt="2023-02-03T16:43:11.302" v="9951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25.307" v="4868"/>
          <ac:graphicFrameMkLst>
            <pc:docMk/>
            <pc:sldMk cId="3672746191" sldId="313"/>
            <ac:graphicFrameMk id="24" creationId="{543536BD-B483-49DB-9254-2B525412E77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40.319" v="4957"/>
          <ac:graphicFrameMkLst>
            <pc:docMk/>
            <pc:sldMk cId="3672746191" sldId="313"/>
            <ac:graphicFrameMk id="26" creationId="{5B9C4799-B894-46C1-9E28-D2BDA44D2D6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9:55.391" v="5020"/>
          <ac:graphicFrameMkLst>
            <pc:docMk/>
            <pc:sldMk cId="3672746191" sldId="313"/>
            <ac:graphicFrameMk id="28" creationId="{B84BF0EC-EFE6-47EB-AA96-81A7E536C22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3:11.255" v="9919"/>
          <ac:graphicFrameMkLst>
            <pc:docMk/>
            <pc:sldMk cId="3672746191" sldId="313"/>
            <ac:graphicFrameMk id="30" creationId="{B6EE6E09-78CD-4C6C-94D7-1EFD929758B0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3:11.302" v="9937"/>
          <ac:graphicFrameMkLst>
            <pc:docMk/>
            <pc:sldMk cId="3672746191" sldId="313"/>
            <ac:graphicFrameMk id="32" creationId="{DB1F2E28-A975-4D9B-9391-3B98560D81FE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19:05.339" v="4779"/>
          <ac:graphicFrameMkLst>
            <pc:docMk/>
            <pc:sldMk cId="3672746191" sldId="313"/>
            <ac:graphicFrameMk id="58" creationId="{268C19AF-944F-4775-AE06-14BFF1C4EB4C}"/>
          </ac:graphicFrameMkLst>
        </pc:graphicFrameChg>
      </pc:sldChg>
      <pc:sldChg chg="addSp delSp modSp mod">
        <pc:chgData name="Wind-Larsen, Taus (SGRE TE N NT SYC&amp;MAT)" userId="909f4c56-f0bd-48e2-b5e6-c85fd07560b7" providerId="ADAL" clId="{7482155F-9D12-4948-A2BA-96C984CD98A8}" dt="2023-02-03T16:34:13.030" v="7585"/>
        <pc:sldMkLst>
          <pc:docMk/>
          <pc:sldMk cId="1209066160" sldId="314"/>
        </pc:sldMkLst>
        <pc:spChg chg="mod ord">
          <ac:chgData name="Wind-Larsen, Taus (SGRE TE N NT SYC&amp;MAT)" userId="909f4c56-f0bd-48e2-b5e6-c85fd07560b7" providerId="ADAL" clId="{7482155F-9D12-4948-A2BA-96C984CD98A8}" dt="2023-02-03T16:34:13.008" v="7551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3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5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9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49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57"/>
          <ac:spMkLst>
            <pc:docMk/>
            <pc:sldMk cId="1209066160" sldId="314"/>
            <ac:spMk id="9" creationId="{04F17845-4D22-45ED-9899-3BF6E77ACD44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22:18.404" v="5884" actId="478"/>
          <ac:spMkLst>
            <pc:docMk/>
            <pc:sldMk cId="1209066160" sldId="314"/>
            <ac:spMk id="10" creationId="{9239D953-C2B7-456D-ABBE-8C4CF2FAC25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1:40.938" v="5272"/>
          <ac:spMkLst>
            <pc:docMk/>
            <pc:sldMk cId="1209066160" sldId="314"/>
            <ac:spMk id="11" creationId="{91FD1672-0EDF-4C11-B367-9536F27D085F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1:54.060" v="5435"/>
          <ac:spMkLst>
            <pc:docMk/>
            <pc:sldMk cId="1209066160" sldId="314"/>
            <ac:spMk id="12" creationId="{DC188214-5DEA-411B-B771-B5B807A8CC5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2:10.971" v="5726"/>
          <ac:spMkLst>
            <pc:docMk/>
            <pc:sldMk cId="1209066160" sldId="314"/>
            <ac:spMk id="13" creationId="{270523B1-6C85-42BA-B524-8954C98F01C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22:12.806" v="5881"/>
          <ac:spMkLst>
            <pc:docMk/>
            <pc:sldMk cId="1209066160" sldId="314"/>
            <ac:spMk id="14" creationId="{3F3F528C-7EB3-4EB3-A194-C0818C78AB98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2"/>
          <ac:spMkLst>
            <pc:docMk/>
            <pc:sldMk cId="1209066160" sldId="314"/>
            <ac:spMk id="26" creationId="{5D8DC933-BD83-4105-A2C4-90E882B5AF2D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4"/>
          <ac:spMkLst>
            <pc:docMk/>
            <pc:sldMk cId="1209066160" sldId="314"/>
            <ac:spMk id="27" creationId="{517F3945-3335-456D-836F-959B7E8B38D7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3"/>
          <ac:spMkLst>
            <pc:docMk/>
            <pc:sldMk cId="1209066160" sldId="314"/>
            <ac:spMk id="28" creationId="{2FD4225D-9A52-463F-89E3-923BA9F25DF4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34:13.030" v="7581"/>
          <ac:spMkLst>
            <pc:docMk/>
            <pc:sldMk cId="1209066160" sldId="314"/>
            <ac:spMk id="29" creationId="{D23A7011-DA9F-46FF-9DC4-389776FF4EF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08" v="7561"/>
          <ac:spMkLst>
            <pc:docMk/>
            <pc:sldMk cId="1209066160" sldId="314"/>
            <ac:spMk id="57" creationId="{6FAB43A1-EA11-4255-B86F-726004BB6D60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1"/>
          <ac:spMkLst>
            <pc:docMk/>
            <pc:sldMk cId="1209066160" sldId="314"/>
            <ac:spMk id="59" creationId="{25CFCEC0-B110-4174-A12D-60BA5D61B64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5"/>
          <ac:spMkLst>
            <pc:docMk/>
            <pc:sldMk cId="1209066160" sldId="314"/>
            <ac:spMk id="61" creationId="{D13114FD-DCB1-4DA4-A7D1-73E0F6D540AF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8"/>
          <ac:spMkLst>
            <pc:docMk/>
            <pc:sldMk cId="1209066160" sldId="314"/>
            <ac:spMk id="63" creationId="{D3696484-1079-407D-8807-61547CA1741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9"/>
          <ac:spMkLst>
            <pc:docMk/>
            <pc:sldMk cId="1209066160" sldId="314"/>
            <ac:spMk id="65" creationId="{290E05D6-59AA-47D6-A84B-621B888831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24" v="7576"/>
          <ac:spMkLst>
            <pc:docMk/>
            <pc:sldMk cId="1209066160" sldId="314"/>
            <ac:spMk id="67" creationId="{529E55F6-06A8-434C-B0E0-D8A9D0616EDB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80"/>
          <ac:spMkLst>
            <pc:docMk/>
            <pc:sldMk cId="1209066160" sldId="314"/>
            <ac:spMk id="69" creationId="{20DA7BC9-8807-475C-9621-163B010D237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34:13.030" v="7583"/>
          <ac:spMkLst>
            <pc:docMk/>
            <pc:sldMk cId="1209066160" sldId="314"/>
            <ac:spMk id="78" creationId="{4ACE6BF3-1590-4A5A-94F5-E5E6F38680B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34:13.030" v="7577"/>
          <ac:spMkLst>
            <pc:docMk/>
            <pc:sldMk cId="1209066160" sldId="314"/>
            <ac:spMk id="175" creationId="{713D82D2-1066-4FEE-96C3-92967F850F8B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34:13.030" v="7585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mod ord">
          <ac:chgData name="Wind-Larsen, Taus (SGRE TE N NT SYC&amp;MAT)" userId="909f4c56-f0bd-48e2-b5e6-c85fd07560b7" providerId="ADAL" clId="{7482155F-9D12-4948-A2BA-96C984CD98A8}" dt="2023-02-03T16:34:13.008" v="7563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1:45.343" v="5291"/>
          <ac:graphicFrameMkLst>
            <pc:docMk/>
            <pc:sldMk cId="1209066160" sldId="314"/>
            <ac:graphicFrameMk id="30" creationId="{8C86F451-0690-4027-B5AE-18738225648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1:54.013" v="5390"/>
          <ac:graphicFrameMkLst>
            <pc:docMk/>
            <pc:sldMk cId="1209066160" sldId="314"/>
            <ac:graphicFrameMk id="31" creationId="{3BCD44AB-77FE-4A48-B825-16A2C66DBEB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06.529" v="5528"/>
          <ac:graphicFrameMkLst>
            <pc:docMk/>
            <pc:sldMk cId="1209066160" sldId="314"/>
            <ac:graphicFrameMk id="32" creationId="{14FCC851-8634-4CEA-99C8-CB052A5C8C1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10.940" v="5681"/>
          <ac:graphicFrameMkLst>
            <pc:docMk/>
            <pc:sldMk cId="1209066160" sldId="314"/>
            <ac:graphicFrameMk id="33" creationId="{A3AA28A2-AC31-405F-BF58-B045C4272C4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12.759" v="5836"/>
          <ac:graphicFrameMkLst>
            <pc:docMk/>
            <pc:sldMk cId="1209066160" sldId="314"/>
            <ac:graphicFrameMk id="35" creationId="{40EC3AD5-32C4-4DB9-9891-CFEBA7A147B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22:21.481" v="5937"/>
          <ac:graphicFrameMkLst>
            <pc:docMk/>
            <pc:sldMk cId="1209066160" sldId="314"/>
            <ac:graphicFrameMk id="37" creationId="{48DAEC6E-37CF-48E6-BD2A-AEB843CBEE18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4:12.977" v="7542"/>
          <ac:graphicFrameMkLst>
            <pc:docMk/>
            <pc:sldMk cId="1209066160" sldId="314"/>
            <ac:graphicFrameMk id="38" creationId="{0321AAA1-1EE8-48D4-9F0A-7ED57F7B1219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34:13.024" v="7564"/>
          <ac:graphicFrameMkLst>
            <pc:docMk/>
            <pc:sldMk cId="1209066160" sldId="314"/>
            <ac:graphicFrameMk id="39" creationId="{52DD6675-BFBA-4EBA-A15C-09B0CA72DC78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21:40.894" v="5227"/>
          <ac:graphicFrameMkLst>
            <pc:docMk/>
            <pc:sldMk cId="1209066160" sldId="314"/>
            <ac:graphicFrameMk id="210" creationId="{1F9F895A-560D-4311-B0EC-E52F8532BF8B}"/>
          </ac:graphicFrameMkLst>
        </pc:graphicFrameChg>
        <pc:cxnChg chg="mod ord">
          <ac:chgData name="Wind-Larsen, Taus (SGRE TE N NT SYC&amp;MAT)" userId="909f4c56-f0bd-48e2-b5e6-c85fd07560b7" providerId="ADAL" clId="{7482155F-9D12-4948-A2BA-96C984CD98A8}" dt="2023-02-03T16:34:13.024" v="7566"/>
          <ac:cxnSpMkLst>
            <pc:docMk/>
            <pc:sldMk cId="1209066160" sldId="314"/>
            <ac:cxnSpMk id="80" creationId="{2032FEFB-C5FB-42FB-BAEA-44B4B7259EF6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34:13.024" v="7568"/>
          <ac:cxnSpMkLst>
            <pc:docMk/>
            <pc:sldMk cId="1209066160" sldId="314"/>
            <ac:cxnSpMk id="81" creationId="{7021908F-59F2-4B5E-8BF9-6817B069FB09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34:13.024" v="7570"/>
          <ac:cxnSpMkLst>
            <pc:docMk/>
            <pc:sldMk cId="1209066160" sldId="314"/>
            <ac:cxnSpMk id="82" creationId="{259E0AE8-F58F-4CC5-9FC4-712F6CEA1C13}"/>
          </ac:cxnSpMkLst>
        </pc:cxnChg>
      </pc:sldChg>
      <pc:sldChg chg="delSp modSp mod">
        <pc:chgData name="Wind-Larsen, Taus (SGRE TE N NT SYC&amp;MAT)" userId="909f4c56-f0bd-48e2-b5e6-c85fd07560b7" providerId="ADAL" clId="{7482155F-9D12-4948-A2BA-96C984CD98A8}" dt="2023-02-03T17:13:39.120" v="10000" actId="27636"/>
        <pc:sldMkLst>
          <pc:docMk/>
          <pc:sldMk cId="577488301" sldId="318"/>
        </pc:sldMkLst>
        <pc:spChg chg="mod">
          <ac:chgData name="Wind-Larsen, Taus (SGRE TE N NT SYC&amp;MAT)" userId="909f4c56-f0bd-48e2-b5e6-c85fd07560b7" providerId="ADAL" clId="{7482155F-9D12-4948-A2BA-96C984CD98A8}" dt="2023-02-03T17:13:39.120" v="10000" actId="27636"/>
          <ac:spMkLst>
            <pc:docMk/>
            <pc:sldMk cId="577488301" sldId="318"/>
            <ac:spMk id="3" creationId="{FACB4378-C95C-45D7-942D-D6F00751661C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16.417" v="9989" actId="478"/>
          <ac:spMkLst>
            <pc:docMk/>
            <pc:sldMk cId="577488301" sldId="318"/>
            <ac:spMk id="19" creationId="{34B1DE14-9AF0-42B9-9602-8334CE41B224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6:41:48.655" v="9838"/>
        <pc:sldMkLst>
          <pc:docMk/>
          <pc:sldMk cId="995067089" sldId="336"/>
        </pc:sldMkLst>
        <pc:spChg chg="mod ord">
          <ac:chgData name="Wind-Larsen, Taus (SGRE TE N NT SYC&amp;MAT)" userId="909f4c56-f0bd-48e2-b5e6-c85fd07560b7" providerId="ADAL" clId="{7482155F-9D12-4948-A2BA-96C984CD98A8}" dt="2023-02-03T16:41:48.617" v="9736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38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40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42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34"/>
          <ac:spMkLst>
            <pc:docMk/>
            <pc:sldMk cId="995067089" sldId="336"/>
            <ac:spMk id="6" creationId="{FB9CFFEC-C97F-4015-BB00-142261497CAB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7"/>
          <ac:spMkLst>
            <pc:docMk/>
            <pc:sldMk cId="995067089" sldId="336"/>
            <ac:spMk id="8" creationId="{187BBAD4-56C8-4FCA-8C7D-82703B0EE0DF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6"/>
          <ac:spMkLst>
            <pc:docMk/>
            <pc:sldMk cId="995067089" sldId="336"/>
            <ac:spMk id="9" creationId="{25D0E781-6390-4B97-8D9C-FE343E77ABE6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58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13.919" v="600"/>
          <ac:spMkLst>
            <pc:docMk/>
            <pc:sldMk cId="995067089" sldId="336"/>
            <ac:spMk id="11" creationId="{C9F86A3E-6318-432A-86A4-DC17F0286B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67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17" v="9768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20.454" v="764"/>
          <ac:spMkLst>
            <pc:docMk/>
            <pc:sldMk cId="995067089" sldId="336"/>
            <ac:spMk id="14" creationId="{AC87F8E0-3822-4CC7-874F-FD87B2BD0F9A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4"/>
          <ac:spMkLst>
            <pc:docMk/>
            <pc:sldMk cId="995067089" sldId="336"/>
            <ac:spMk id="15" creationId="{38D4CA74-0128-4EAA-852F-032BEBB475C9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6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5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8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38.606" v="1201" actId="962"/>
          <ac:spMkLst>
            <pc:docMk/>
            <pc:sldMk cId="995067089" sldId="336"/>
            <ac:spMk id="21" creationId="{17AE7AA9-74DE-4083-AB18-1EF7EF793A13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46.496" v="2002"/>
          <ac:spMkLst>
            <pc:docMk/>
            <pc:sldMk cId="995067089" sldId="336"/>
            <ac:spMk id="22" creationId="{AFBBA23C-A43F-4922-94A6-023442A845F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6:52.483" v="2296"/>
          <ac:spMkLst>
            <pc:docMk/>
            <pc:sldMk cId="995067089" sldId="336"/>
            <ac:spMk id="23" creationId="{3772A0CA-42B3-4660-BC9B-EFC699EC8A4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13.745" v="2483"/>
          <ac:spMkLst>
            <pc:docMk/>
            <pc:sldMk cId="995067089" sldId="336"/>
            <ac:spMk id="27" creationId="{97813B60-3F50-49C4-A5C4-5FCA93419B44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3.389" v="3335"/>
          <ac:spMkLst>
            <pc:docMk/>
            <pc:sldMk cId="995067089" sldId="336"/>
            <ac:spMk id="28" creationId="{393908B0-C542-4562-A0DF-CC55C0F4C7BE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6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6.010" v="3671"/>
          <ac:spMkLst>
            <pc:docMk/>
            <pc:sldMk cId="995067089" sldId="336"/>
            <ac:spMk id="31" creationId="{36EF9C8B-DC41-4CE6-810C-37308C2A0686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17:38.616" v="4043"/>
          <ac:spMkLst>
            <pc:docMk/>
            <pc:sldMk cId="995067089" sldId="336"/>
            <ac:spMk id="32" creationId="{FA4754A3-BEB8-45CE-8E71-AAB8117B313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0:53.990" v="6384"/>
          <ac:spMkLst>
            <pc:docMk/>
            <pc:sldMk cId="995067089" sldId="336"/>
            <ac:spMk id="35" creationId="{DF27DC67-81F0-4A11-B060-ADEF709358E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1:52.225" v="6607"/>
          <ac:spMkLst>
            <pc:docMk/>
            <pc:sldMk cId="995067089" sldId="336"/>
            <ac:spMk id="37" creationId="{FC7AA1A1-8F1A-42F0-A6C8-1CE41F8D7157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1:55.682" v="6843"/>
          <ac:spMkLst>
            <pc:docMk/>
            <pc:sldMk cId="995067089" sldId="336"/>
            <ac:spMk id="40" creationId="{4CF53B0A-F38B-44A1-A2B5-04C7406F909E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09.318" v="7054"/>
          <ac:spMkLst>
            <pc:docMk/>
            <pc:sldMk cId="995067089" sldId="336"/>
            <ac:spMk id="42" creationId="{E8346EA3-7738-4360-A2BF-0B55CEC5C4CD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13.973" v="7261"/>
          <ac:spMkLst>
            <pc:docMk/>
            <pc:sldMk cId="995067089" sldId="336"/>
            <ac:spMk id="43" creationId="{511B02E8-4729-4F8D-AEBB-CE04C3CDB747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5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7"/>
          <ac:spMkLst>
            <pc:docMk/>
            <pc:sldMk cId="995067089" sldId="336"/>
            <ac:spMk id="46" creationId="{1E6101ED-100D-4B6A-8DA2-F3321B81720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2:24.043" v="7484"/>
          <ac:spMkLst>
            <pc:docMk/>
            <pc:sldMk cId="995067089" sldId="336"/>
            <ac:spMk id="49" creationId="{FBAEC896-6F56-4571-92FC-7AF9CDA4C88F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5:51.258" v="7804"/>
          <ac:spMkLst>
            <pc:docMk/>
            <pc:sldMk cId="995067089" sldId="336"/>
            <ac:spMk id="50" creationId="{7D644269-DE04-4C8E-B32F-E3D5D483ED81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36:20.090" v="8009"/>
          <ac:spMkLst>
            <pc:docMk/>
            <pc:sldMk cId="995067089" sldId="336"/>
            <ac:spMk id="51" creationId="{BF96F5E8-4886-4F5D-9C05-EEE706B9501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9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36"/>
          <ac:spMkLst>
            <pc:docMk/>
            <pc:sldMk cId="995067089" sldId="336"/>
            <ac:spMk id="57" creationId="{B7694804-DC6A-43CE-9BD9-B104836C0EF3}"/>
          </ac:spMkLst>
        </pc:spChg>
        <pc:spChg chg="del mod ord">
          <ac:chgData name="Wind-Larsen, Taus (SGRE TE N NT SYC&amp;MAT)" userId="909f4c56-f0bd-48e2-b5e6-c85fd07560b7" providerId="ADAL" clId="{7482155F-9D12-4948-A2BA-96C984CD98A8}" dt="2023-02-03T16:32:35.167" v="7487" actId="478"/>
          <ac:spMkLst>
            <pc:docMk/>
            <pc:sldMk cId="995067089" sldId="336"/>
            <ac:spMk id="58" creationId="{ACB29AC8-665D-4B10-BBDF-DBA4B9C509CF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6:41:48.639" v="9814"/>
          <ac:spMkLst>
            <pc:docMk/>
            <pc:sldMk cId="995067089" sldId="336"/>
            <ac:spMk id="59" creationId="{6DED8F48-E301-40CC-B3D7-3B4E9873C32D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3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9"/>
          <ac:spMkLst>
            <pc:docMk/>
            <pc:sldMk cId="995067089" sldId="336"/>
            <ac:spMk id="65" creationId="{F6FF8EF2-A5BE-4D68-8588-5B5299C52F19}"/>
          </ac:spMkLst>
        </pc:spChg>
        <pc:spChg chg="add mod ord">
          <ac:chgData name="Wind-Larsen, Taus (SGRE TE N NT SYC&amp;MAT)" userId="909f4c56-f0bd-48e2-b5e6-c85fd07560b7" providerId="ADAL" clId="{7482155F-9D12-4948-A2BA-96C984CD98A8}" dt="2023-02-03T16:41:48.639" v="9833"/>
          <ac:spMkLst>
            <pc:docMk/>
            <pc:sldMk cId="995067089" sldId="336"/>
            <ac:spMk id="68" creationId="{328A41FE-90DE-46C9-84D1-81AB94ED3C13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2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1"/>
          <ac:spMkLst>
            <pc:docMk/>
            <pc:sldMk cId="995067089" sldId="336"/>
            <ac:spMk id="72" creationId="{CA154379-494E-4734-89D2-5992D0D34B53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23"/>
          <ac:spMkLst>
            <pc:docMk/>
            <pc:sldMk cId="995067089" sldId="336"/>
            <ac:spMk id="75" creationId="{5AAE0FCC-5711-4B2D-8099-067EC412D0D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35"/>
          <ac:spMkLst>
            <pc:docMk/>
            <pc:sldMk cId="995067089" sldId="336"/>
            <ac:spMk id="81" creationId="{5E9A0431-BF35-46E7-86D1-5EAE1306955C}"/>
          </ac:spMkLst>
        </pc:spChg>
        <pc:spChg chg="mod">
          <ac:chgData name="Wind-Larsen, Taus (SGRE TE N NT SYC&amp;MAT)" userId="909f4c56-f0bd-48e2-b5e6-c85fd07560b7" providerId="ADAL" clId="{7482155F-9D12-4948-A2BA-96C984CD98A8}" dt="2023-02-03T16:41:48.639" v="9817"/>
          <ac:spMkLst>
            <pc:docMk/>
            <pc:sldMk cId="995067089" sldId="336"/>
            <ac:spMk id="82" creationId="{2E9474F6-EC0B-425B-9EA6-75051CF86416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39" v="9831"/>
          <ac:spMkLst>
            <pc:docMk/>
            <pc:sldMk cId="995067089" sldId="336"/>
            <ac:spMk id="91" creationId="{0A9CA739-4907-402B-984F-CB49908024C8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02.982" v="8340"/>
          <ac:spMkLst>
            <pc:docMk/>
            <pc:sldMk cId="995067089" sldId="336"/>
            <ac:spMk id="110" creationId="{8EDB7F43-2F2B-454F-B064-200BB102C715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20.442" v="8561"/>
          <ac:spMkLst>
            <pc:docMk/>
            <pc:sldMk cId="995067089" sldId="336"/>
            <ac:spMk id="111" creationId="{059E8F85-4403-4E64-B34F-A355B23C710C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0:34.925" v="8744"/>
          <ac:spMkLst>
            <pc:docMk/>
            <pc:sldMk cId="995067089" sldId="336"/>
            <ac:spMk id="112" creationId="{97892D87-E592-4B18-9B28-77D54B617A92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6:41:17.968" v="9325"/>
          <ac:spMkLst>
            <pc:docMk/>
            <pc:sldMk cId="995067089" sldId="336"/>
            <ac:spMk id="113" creationId="{2D73F448-F9D6-483C-983D-F714325D0471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0"/>
          <ac:spMkLst>
            <pc:docMk/>
            <pc:sldMk cId="995067089" sldId="336"/>
            <ac:spMk id="141" creationId="{57F94C1C-B279-482E-81AE-EFDD3558C11D}"/>
          </ac:spMkLst>
        </pc:spChg>
        <pc:spChg chg="mod ord">
          <ac:chgData name="Wind-Larsen, Taus (SGRE TE N NT SYC&amp;MAT)" userId="909f4c56-f0bd-48e2-b5e6-c85fd07560b7" providerId="ADAL" clId="{7482155F-9D12-4948-A2BA-96C984CD98A8}" dt="2023-02-03T16:41:48.617" v="9762"/>
          <ac:spMkLst>
            <pc:docMk/>
            <pc:sldMk cId="995067089" sldId="336"/>
            <ac:spMk id="149" creationId="{B6FB31CF-AD53-433E-B0C9-F3438737437F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6:41:48.655" v="9838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20.392" v="659"/>
          <ac:graphicFrameMkLst>
            <pc:docMk/>
            <pc:sldMk cId="995067089" sldId="336"/>
            <ac:graphicFrameMk id="61" creationId="{67F2CAFA-E743-46BD-926A-5838C5E6A0EF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46.436" v="1897"/>
          <ac:graphicFrameMkLst>
            <pc:docMk/>
            <pc:sldMk cId="995067089" sldId="336"/>
            <ac:graphicFrameMk id="64" creationId="{1EE6CC14-0840-4568-AFA7-C3AA4716A049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16:38.590" v="1103" actId="1076"/>
          <ac:graphicFrameMkLst>
            <pc:docMk/>
            <pc:sldMk cId="995067089" sldId="336"/>
            <ac:graphicFrameMk id="66" creationId="{3C47A089-0B72-4C57-834A-7A250EA979C3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6:52.410" v="2185"/>
          <ac:graphicFrameMkLst>
            <pc:docMk/>
            <pc:sldMk cId="995067089" sldId="336"/>
            <ac:graphicFrameMk id="67" creationId="{8FF72F19-DF36-4AED-8048-E7703804FF90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13.695" v="2372"/>
          <ac:graphicFrameMkLst>
            <pc:docMk/>
            <pc:sldMk cId="995067089" sldId="336"/>
            <ac:graphicFrameMk id="73" creationId="{0DDDF8F6-BCA9-43D3-A063-51E378910C5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24.314" v="2629"/>
          <ac:graphicFrameMkLst>
            <pc:docMk/>
            <pc:sldMk cId="995067089" sldId="336"/>
            <ac:graphicFrameMk id="79" creationId="{F26E3954-2E73-4FD0-83AF-7D76640D5009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0.702" v="2872"/>
          <ac:graphicFrameMkLst>
            <pc:docMk/>
            <pc:sldMk cId="995067089" sldId="336"/>
            <ac:graphicFrameMk id="80" creationId="{BD10D228-8D63-4663-B049-4F141A638E1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3.335" v="3226"/>
          <ac:graphicFrameMkLst>
            <pc:docMk/>
            <pc:sldMk cId="995067089" sldId="336"/>
            <ac:graphicFrameMk id="83" creationId="{7B042C5B-4186-4D8D-96AE-523A067113D2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5.941" v="3562"/>
          <ac:graphicFrameMkLst>
            <pc:docMk/>
            <pc:sldMk cId="995067089" sldId="336"/>
            <ac:graphicFrameMk id="84" creationId="{01DD95FE-0239-464B-BF4D-52AEE4B9338D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7:38.547" v="3930"/>
          <ac:graphicFrameMkLst>
            <pc:docMk/>
            <pc:sldMk cId="995067089" sldId="336"/>
            <ac:graphicFrameMk id="85" creationId="{BAF7DE0C-CC0F-4E78-9D7D-08865735AAA7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18:06.735" v="4321"/>
          <ac:graphicFrameMkLst>
            <pc:docMk/>
            <pc:sldMk cId="995067089" sldId="336"/>
            <ac:graphicFrameMk id="86" creationId="{8E38316B-5285-4A27-AFD6-DAC7C74929D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17.915" v="9214"/>
          <ac:graphicFrameMkLst>
            <pc:docMk/>
            <pc:sldMk cId="995067089" sldId="336"/>
            <ac:graphicFrameMk id="87" creationId="{8BE8AFB0-0A5F-4662-B106-1CB966C676B3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1:52.171" v="6494"/>
          <ac:graphicFrameMkLst>
            <pc:docMk/>
            <pc:sldMk cId="995067089" sldId="336"/>
            <ac:graphicFrameMk id="89" creationId="{1613DDED-36B4-4CE1-BEA3-464618AA7636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1:55.618" v="6730"/>
          <ac:graphicFrameMkLst>
            <pc:docMk/>
            <pc:sldMk cId="995067089" sldId="336"/>
            <ac:graphicFrameMk id="95" creationId="{B5F017BC-B014-4254-8749-8425BF38308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09.269" v="6941"/>
          <ac:graphicFrameMkLst>
            <pc:docMk/>
            <pc:sldMk cId="995067089" sldId="336"/>
            <ac:graphicFrameMk id="96" creationId="{B7AE14B5-ECEE-4C5D-B140-ED64F4E1E694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13.913" v="7148"/>
          <ac:graphicFrameMkLst>
            <pc:docMk/>
            <pc:sldMk cId="995067089" sldId="336"/>
            <ac:graphicFrameMk id="97" creationId="{E7FA45EC-3448-4B72-ADE1-47E8945CDB92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2:23.980" v="7371"/>
          <ac:graphicFrameMkLst>
            <pc:docMk/>
            <pc:sldMk cId="995067089" sldId="336"/>
            <ac:graphicFrameMk id="98" creationId="{E733A8A0-5C47-48D7-B388-B55367DEFA3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5:51.189" v="7693"/>
          <ac:graphicFrameMkLst>
            <pc:docMk/>
            <pc:sldMk cId="995067089" sldId="336"/>
            <ac:graphicFrameMk id="100" creationId="{17A1F4EC-8E27-4519-A6DC-4FD3B26DCE9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36:20.043" v="7898"/>
          <ac:graphicFrameMkLst>
            <pc:docMk/>
            <pc:sldMk cId="995067089" sldId="336"/>
            <ac:graphicFrameMk id="101" creationId="{D1653AA0-16CE-42C5-AA58-C09BDAED52E8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02.904" v="8229"/>
          <ac:graphicFrameMkLst>
            <pc:docMk/>
            <pc:sldMk cId="995067089" sldId="336"/>
            <ac:graphicFrameMk id="103" creationId="{B84C0922-C40A-4AFE-9B02-2CD6685EF62E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20.388" v="8450"/>
          <ac:graphicFrameMkLst>
            <pc:docMk/>
            <pc:sldMk cId="995067089" sldId="336"/>
            <ac:graphicFrameMk id="121" creationId="{F55AB200-2D67-43E2-BDC8-3D4A76998C7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0:34.871" v="8633"/>
          <ac:graphicFrameMkLst>
            <pc:docMk/>
            <pc:sldMk cId="995067089" sldId="336"/>
            <ac:graphicFrameMk id="123" creationId="{6E968847-8E32-4295-AF04-E38C6B7E8071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38.804" v="9370"/>
          <ac:graphicFrameMkLst>
            <pc:docMk/>
            <pc:sldMk cId="995067089" sldId="336"/>
            <ac:graphicFrameMk id="125" creationId="{99CA35A8-CA18-400A-89C8-AB6BBF6BCF8D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1:48.617" v="9769"/>
          <ac:graphicFrameMkLst>
            <pc:docMk/>
            <pc:sldMk cId="995067089" sldId="336"/>
            <ac:graphicFrameMk id="127" creationId="{F416EE0D-0EC7-48C6-A7E6-69DD5ACC7BBC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42.319" v="9530"/>
          <ac:graphicFrameMkLst>
            <pc:docMk/>
            <pc:sldMk cId="995067089" sldId="336"/>
            <ac:graphicFrameMk id="128" creationId="{38BECFA1-94C0-4760-9069-27DC8439561A}"/>
          </ac:graphicFrameMkLst>
        </pc:graphicFrameChg>
        <pc:graphicFrameChg chg="add del mod">
          <ac:chgData name="Wind-Larsen, Taus (SGRE TE N NT SYC&amp;MAT)" userId="909f4c56-f0bd-48e2-b5e6-c85fd07560b7" providerId="ADAL" clId="{7482155F-9D12-4948-A2BA-96C984CD98A8}" dt="2023-02-03T16:41:48.586" v="9727"/>
          <ac:graphicFrameMkLst>
            <pc:docMk/>
            <pc:sldMk cId="995067089" sldId="336"/>
            <ac:graphicFrameMk id="129" creationId="{C7469E00-2AA5-4DD3-A1A4-25F4A6EE5C1E}"/>
          </ac:graphicFrameMkLst>
        </pc:graphicFrameChg>
        <pc:graphicFrameChg chg="add mod">
          <ac:chgData name="Wind-Larsen, Taus (SGRE TE N NT SYC&amp;MAT)" userId="909f4c56-f0bd-48e2-b5e6-c85fd07560b7" providerId="ADAL" clId="{7482155F-9D12-4948-A2BA-96C984CD98A8}" dt="2023-02-03T16:41:48.617" v="9743"/>
          <ac:graphicFrameMkLst>
            <pc:docMk/>
            <pc:sldMk cId="995067089" sldId="336"/>
            <ac:graphicFrameMk id="130" creationId="{6CE93F88-6C0E-41F2-B273-DA9E11D61B61}"/>
          </ac:graphicFrameMkLst>
        </pc:graphicFrameChg>
        <pc:graphicFrameChg chg="del mod">
          <ac:chgData name="Wind-Larsen, Taus (SGRE TE N NT SYC&amp;MAT)" userId="909f4c56-f0bd-48e2-b5e6-c85fd07560b7" providerId="ADAL" clId="{7482155F-9D12-4948-A2BA-96C984CD98A8}" dt="2023-02-03T16:30:53.935" v="6271"/>
          <ac:graphicFrameMkLst>
            <pc:docMk/>
            <pc:sldMk cId="995067089" sldId="336"/>
            <ac:graphicFrameMk id="169" creationId="{3C6E91AF-B3CE-4A34-B886-31B2A6A12E95}"/>
          </ac:graphicFrameMkLst>
        </pc:graphicFrameChg>
        <pc:graphicFrameChg chg="del">
          <ac:chgData name="Wind-Larsen, Taus (SGRE TE N NT SYC&amp;MAT)" userId="909f4c56-f0bd-48e2-b5e6-c85fd07560b7" providerId="ADAL" clId="{7482155F-9D12-4948-A2BA-96C984CD98A8}" dt="2023-02-03T16:16:13.859" v="495"/>
          <ac:graphicFrameMkLst>
            <pc:docMk/>
            <pc:sldMk cId="995067089" sldId="336"/>
            <ac:graphicFrameMk id="178" creationId="{893AA19C-F33C-4DDC-A8B7-626AC44F77FD}"/>
          </ac:graphicFrameMkLst>
        </pc:graphicFrameChg>
        <pc:cxnChg chg="mod ord">
          <ac:chgData name="Wind-Larsen, Taus (SGRE TE N NT SYC&amp;MAT)" userId="909f4c56-f0bd-48e2-b5e6-c85fd07560b7" providerId="ADAL" clId="{7482155F-9D12-4948-A2BA-96C984CD98A8}" dt="2023-02-03T16:41:48.617" v="9783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3"/>
          <ac:cxnSpMkLst>
            <pc:docMk/>
            <pc:sldMk cId="995067089" sldId="336"/>
            <ac:cxnSpMk id="20" creationId="{72FAB806-EB20-436C-87B5-28D8EF7EB177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9" v="9811"/>
          <ac:cxnSpMkLst>
            <pc:docMk/>
            <pc:sldMk cId="995067089" sldId="336"/>
            <ac:cxnSpMk id="24" creationId="{AC4CFDB7-5CEE-4E51-9FE9-56A5912483F0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7"/>
          <ac:cxnSpMkLst>
            <pc:docMk/>
            <pc:sldMk cId="995067089" sldId="336"/>
            <ac:cxnSpMk id="25" creationId="{D3C0D745-91DE-4C28-B8C4-8DC9828B19FB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9"/>
          <ac:cxnSpMkLst>
            <pc:docMk/>
            <pc:sldMk cId="995067089" sldId="336"/>
            <ac:cxnSpMk id="26" creationId="{740267CD-CDAF-4FD4-8F97-72D7A50BB3D2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803"/>
          <ac:cxnSpMkLst>
            <pc:docMk/>
            <pc:sldMk cId="995067089" sldId="336"/>
            <ac:cxnSpMk id="29" creationId="{46A1E996-40EC-4BD6-9829-2557FA5A9038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799"/>
          <ac:cxnSpMkLst>
            <pc:docMk/>
            <pc:sldMk cId="995067089" sldId="336"/>
            <ac:cxnSpMk id="33" creationId="{E383A03B-4EFE-4722-A291-8E5A43775895}"/>
          </ac:cxnSpMkLst>
        </pc:cxnChg>
        <pc:cxnChg chg="add mod ord">
          <ac:chgData name="Wind-Larsen, Taus (SGRE TE N NT SYC&amp;MAT)" userId="909f4c56-f0bd-48e2-b5e6-c85fd07560b7" providerId="ADAL" clId="{7482155F-9D12-4948-A2BA-96C984CD98A8}" dt="2023-02-03T16:41:48.632" v="9797"/>
          <ac:cxnSpMkLst>
            <pc:docMk/>
            <pc:sldMk cId="995067089" sldId="336"/>
            <ac:cxnSpMk id="34" creationId="{11268D81-9C64-47EA-AAFD-6DC41003206D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7:33.304" v="3160"/>
          <ac:cxnSpMkLst>
            <pc:docMk/>
            <pc:sldMk cId="995067089" sldId="336"/>
            <ac:cxnSpMk id="36" creationId="{84CF4D50-E1F3-4C2B-9F54-F7BA2BA676CA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5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5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9"/>
          <ac:cxnSpMkLst>
            <pc:docMk/>
            <pc:sldMk cId="995067089" sldId="336"/>
            <ac:cxnSpMk id="41" creationId="{20E6E158-6032-4451-97DA-CF98B60F71A2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7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91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785"/>
          <ac:cxnSpMkLst>
            <pc:docMk/>
            <pc:sldMk cId="995067089" sldId="336"/>
            <ac:cxnSpMk id="48" creationId="{1FA06BA3-C521-419C-99C9-FD10F87FB5B8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1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3"/>
          <ac:cxnSpMkLst>
            <pc:docMk/>
            <pc:sldMk cId="995067089" sldId="336"/>
            <ac:cxnSpMk id="54" creationId="{03A409E1-EDDF-45CB-A701-858D39DE881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7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79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81"/>
          <ac:cxnSpMkLst>
            <pc:docMk/>
            <pc:sldMk cId="995067089" sldId="336"/>
            <ac:cxnSpMk id="78" creationId="{B4B73418-303A-4AE9-B9CE-FBC3397F41D6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801"/>
          <ac:cxnSpMkLst>
            <pc:docMk/>
            <pc:sldMk cId="995067089" sldId="336"/>
            <ac:cxnSpMk id="92" creationId="{B541F855-06A9-4E08-9DEF-743786F8BF17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6:52.357" v="2123"/>
          <ac:cxnSpMkLst>
            <pc:docMk/>
            <pc:sldMk cId="995067089" sldId="336"/>
            <ac:cxnSpMk id="93" creationId="{86FCC693-3754-4DD1-9533-566A3D12832F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32" v="9805"/>
          <ac:cxnSpMkLst>
            <pc:docMk/>
            <pc:sldMk cId="995067089" sldId="336"/>
            <ac:cxnSpMk id="94" creationId="{490D833C-7ADA-47A3-B56E-4239395CEC8A}"/>
          </ac:cxnSpMkLst>
        </pc:cxnChg>
        <pc:cxnChg chg="del mod ord">
          <ac:chgData name="Wind-Larsen, Taus (SGRE TE N NT SYC&amp;MAT)" userId="909f4c56-f0bd-48e2-b5e6-c85fd07560b7" providerId="ADAL" clId="{7482155F-9D12-4948-A2BA-96C984CD98A8}" dt="2023-02-03T16:17:33.304" v="3162"/>
          <ac:cxnSpMkLst>
            <pc:docMk/>
            <pc:sldMk cId="995067089" sldId="336"/>
            <ac:cxnSpMk id="99" creationId="{8A16D71B-8758-468F-8CB3-80AB806CDF07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7"/>
          <ac:cxnSpMkLst>
            <pc:docMk/>
            <pc:sldMk cId="995067089" sldId="336"/>
            <ac:cxnSpMk id="143" creationId="{9F075E6E-6E8D-4B51-AAAA-86999184EDF9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5"/>
          <ac:cxnSpMkLst>
            <pc:docMk/>
            <pc:sldMk cId="995067089" sldId="336"/>
            <ac:cxnSpMk id="144" creationId="{18554E66-610B-4EAC-BAC0-72582685382B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49"/>
          <ac:cxnSpMkLst>
            <pc:docMk/>
            <pc:sldMk cId="995067089" sldId="336"/>
            <ac:cxnSpMk id="145" creationId="{7991103A-DD98-4403-B489-01103FE1388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3"/>
          <ac:cxnSpMkLst>
            <pc:docMk/>
            <pc:sldMk cId="995067089" sldId="336"/>
            <ac:cxnSpMk id="151" creationId="{B25351B5-8410-40B6-B414-5961AE306F15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5"/>
          <ac:cxnSpMkLst>
            <pc:docMk/>
            <pc:sldMk cId="995067089" sldId="336"/>
            <ac:cxnSpMk id="152" creationId="{2B5BF759-88E6-494E-9C37-4A5BEB71FC61}"/>
          </ac:cxnSpMkLst>
        </pc:cxnChg>
        <pc:cxnChg chg="mod ord">
          <ac:chgData name="Wind-Larsen, Taus (SGRE TE N NT SYC&amp;MAT)" userId="909f4c56-f0bd-48e2-b5e6-c85fd07560b7" providerId="ADAL" clId="{7482155F-9D12-4948-A2BA-96C984CD98A8}" dt="2023-02-03T16:41:48.617" v="9751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addSp delSp mod">
        <pc:chgData name="Wind-Larsen, Taus (SGRE TE N NT SYC&amp;MAT)" userId="909f4c56-f0bd-48e2-b5e6-c85fd07560b7" providerId="ADAL" clId="{7482155F-9D12-4948-A2BA-96C984CD98A8}" dt="2023-02-03T17:12:35.360" v="9993" actId="478"/>
        <pc:sldMkLst>
          <pc:docMk/>
          <pc:sldMk cId="1211001049" sldId="345"/>
        </pc:sldMkLst>
        <pc:spChg chg="add del">
          <ac:chgData name="Wind-Larsen, Taus (SGRE TE N NT SYC&amp;MAT)" userId="909f4c56-f0bd-48e2-b5e6-c85fd07560b7" providerId="ADAL" clId="{7482155F-9D12-4948-A2BA-96C984CD98A8}" dt="2023-02-03T17:12:30.310" v="9992" actId="478"/>
          <ac:spMkLst>
            <pc:docMk/>
            <pc:sldMk cId="1211001049" sldId="345"/>
            <ac:spMk id="6" creationId="{25A36868-9D2A-4955-94AD-09DBFA073DCB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12:35.360" v="9993" actId="478"/>
          <ac:spMkLst>
            <pc:docMk/>
            <pc:sldMk cId="1211001049" sldId="345"/>
            <ac:spMk id="14" creationId="{89DE109F-A729-42A7-8FF1-51F248EDCE99}"/>
          </ac:spMkLst>
        </pc:spChg>
      </pc:sldChg>
      <pc:sldChg chg="addSp delSp modSp mod">
        <pc:chgData name="Wind-Larsen, Taus (SGRE TE N NT SYC&amp;MAT)" userId="909f4c56-f0bd-48e2-b5e6-c85fd07560b7" providerId="ADAL" clId="{7482155F-9D12-4948-A2BA-96C984CD98A8}" dt="2023-02-03T17:23:10.465" v="10086" actId="20577"/>
        <pc:sldMkLst>
          <pc:docMk/>
          <pc:sldMk cId="3844324542" sldId="347"/>
        </pc:sldMkLst>
        <pc:spChg chg="mod">
          <ac:chgData name="Wind-Larsen, Taus (SGRE TE N NT SYC&amp;MAT)" userId="909f4c56-f0bd-48e2-b5e6-c85fd07560b7" providerId="ADAL" clId="{7482155F-9D12-4948-A2BA-96C984CD98A8}" dt="2023-02-03T17:22:06.799" v="10035" actId="948"/>
          <ac:spMkLst>
            <pc:docMk/>
            <pc:sldMk cId="3844324542" sldId="347"/>
            <ac:spMk id="2" creationId="{54329A1D-5733-4D01-B538-36178393AF26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23:10.465" v="10086" actId="20577"/>
          <ac:spMkLst>
            <pc:docMk/>
            <pc:sldMk cId="3844324542" sldId="347"/>
            <ac:spMk id="3" creationId="{C3C2D612-1E53-8EF1-4516-12170CF5D44C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7:22:06.894" v="10074"/>
          <ac:spMkLst>
            <pc:docMk/>
            <pc:sldMk cId="3844324542" sldId="347"/>
            <ac:spMk id="6" creationId="{F2EF7B21-EF94-4B23-AC06-472583B38880}"/>
          </ac:spMkLst>
        </pc:spChg>
        <pc:graphicFrameChg chg="mod">
          <ac:chgData name="Wind-Larsen, Taus (SGRE TE N NT SYC&amp;MAT)" userId="909f4c56-f0bd-48e2-b5e6-c85fd07560b7" providerId="ADAL" clId="{7482155F-9D12-4948-A2BA-96C984CD98A8}" dt="2023-02-03T17:22:06.898" v="10076"/>
          <ac:graphicFrameMkLst>
            <pc:docMk/>
            <pc:sldMk cId="3844324542" sldId="347"/>
            <ac:graphicFrameMk id="7" creationId="{C2E1FD7A-6B81-4A2C-A69F-E9E0FBC2131B}"/>
          </ac:graphicFrameMkLst>
        </pc:graphicFrameChg>
      </pc:sldChg>
      <pc:sldChg chg="ord">
        <pc:chgData name="Wind-Larsen, Taus (SGRE TE N NT SYC&amp;MAT)" userId="909f4c56-f0bd-48e2-b5e6-c85fd07560b7" providerId="ADAL" clId="{7482155F-9D12-4948-A2BA-96C984CD98A8}" dt="2023-02-03T17:20:09.331" v="10007"/>
        <pc:sldMkLst>
          <pc:docMk/>
          <pc:sldMk cId="3870458832" sldId="348"/>
        </pc:sldMkLst>
      </pc:sldChg>
      <pc:sldChg chg="addSp delSp modSp new add mod">
        <pc:chgData name="Wind-Larsen, Taus (SGRE TE N NT SYC&amp;MAT)" userId="909f4c56-f0bd-48e2-b5e6-c85fd07560b7" providerId="ADAL" clId="{7482155F-9D12-4948-A2BA-96C984CD98A8}" dt="2023-02-03T17:27:47.341" v="10205" actId="20577"/>
        <pc:sldMkLst>
          <pc:docMk/>
          <pc:sldMk cId="1587693403" sldId="349"/>
        </pc:sldMkLst>
        <pc:spChg chg="mod">
          <ac:chgData name="Wind-Larsen, Taus (SGRE TE N NT SYC&amp;MAT)" userId="909f4c56-f0bd-48e2-b5e6-c85fd07560b7" providerId="ADAL" clId="{7482155F-9D12-4948-A2BA-96C984CD98A8}" dt="2023-02-03T17:27:15.434" v="10147" actId="948"/>
          <ac:spMkLst>
            <pc:docMk/>
            <pc:sldMk cId="1587693403" sldId="349"/>
            <ac:spMk id="2" creationId="{7C8E5694-49B6-4623-9537-F35046A2D473}"/>
          </ac:spMkLst>
        </pc:spChg>
        <pc:spChg chg="mod">
          <ac:chgData name="Wind-Larsen, Taus (SGRE TE N NT SYC&amp;MAT)" userId="909f4c56-f0bd-48e2-b5e6-c85fd07560b7" providerId="ADAL" clId="{7482155F-9D12-4948-A2BA-96C984CD98A8}" dt="2023-02-03T17:26:28.223" v="10127" actId="20577"/>
          <ac:spMkLst>
            <pc:docMk/>
            <pc:sldMk cId="1587693403" sldId="349"/>
            <ac:spMk id="3" creationId="{E4CF3FE6-3D87-4B59-A1A1-B16408FA2F8F}"/>
          </ac:spMkLst>
        </pc:spChg>
        <pc:spChg chg="del">
          <ac:chgData name="Wind-Larsen, Taus (SGRE TE N NT SYC&amp;MAT)" userId="909f4c56-f0bd-48e2-b5e6-c85fd07560b7" providerId="ADAL" clId="{7482155F-9D12-4948-A2BA-96C984CD98A8}" dt="2023-02-03T17:26:49.401" v="10129" actId="478"/>
          <ac:spMkLst>
            <pc:docMk/>
            <pc:sldMk cId="1587693403" sldId="349"/>
            <ac:spMk id="4" creationId="{1CF6A202-D88D-4F90-9B7C-7FF7B4D030A1}"/>
          </ac:spMkLst>
        </pc:spChg>
        <pc:spChg chg="add mod">
          <ac:chgData name="Wind-Larsen, Taus (SGRE TE N NT SYC&amp;MAT)" userId="909f4c56-f0bd-48e2-b5e6-c85fd07560b7" providerId="ADAL" clId="{7482155F-9D12-4948-A2BA-96C984CD98A8}" dt="2023-02-03T17:27:47.341" v="10205" actId="20577"/>
          <ac:spMkLst>
            <pc:docMk/>
            <pc:sldMk cId="1587693403" sldId="349"/>
            <ac:spMk id="7" creationId="{4E3C65F3-3FD8-4168-8BD2-818BEAF171F3}"/>
          </ac:spMkLst>
        </pc:spChg>
        <pc:spChg chg="add del mod modVis">
          <ac:chgData name="Wind-Larsen, Taus (SGRE TE N NT SYC&amp;MAT)" userId="909f4c56-f0bd-48e2-b5e6-c85fd07560b7" providerId="ADAL" clId="{7482155F-9D12-4948-A2BA-96C984CD98A8}" dt="2023-02-03T17:27:15.579" v="10186"/>
          <ac:spMkLst>
            <pc:docMk/>
            <pc:sldMk cId="1587693403" sldId="349"/>
            <ac:spMk id="8" creationId="{1E31CBFC-A4B7-435D-8828-E8F7BF2FCCEF}"/>
          </ac:spMkLst>
        </pc:spChg>
        <pc:graphicFrameChg chg="add mod ord modVis">
          <ac:chgData name="Wind-Larsen, Taus (SGRE TE N NT SYC&amp;MAT)" userId="909f4c56-f0bd-48e2-b5e6-c85fd07560b7" providerId="ADAL" clId="{7482155F-9D12-4948-A2BA-96C984CD98A8}" dt="2023-02-03T17:27:15.644" v="10201"/>
          <ac:graphicFrameMkLst>
            <pc:docMk/>
            <pc:sldMk cId="1587693403" sldId="349"/>
            <ac:graphicFrameMk id="9" creationId="{4D784212-6226-45BA-A3AD-CD8E34727A4B}"/>
          </ac:graphicFrameMkLst>
        </pc:graphicFrameChg>
      </pc:sldChg>
    </pc:docChg>
  </pc:docChgLst>
  <pc:docChgLst>
    <pc:chgData name="Jakobsen, Lone (SGRE OF OPS MFG BDK SCL SM)" userId="b97f7784-7dac-40b5-a391-efabebb228d3" providerId="ADAL" clId="{F01D4D53-011C-4EB6-97C1-55E4155B0CC6}"/>
    <pc:docChg chg="modSld modNotesMaster modHandout">
      <pc:chgData name="Jakobsen, Lone (SGRE OF OPS MFG BDK SCL SM)" userId="b97f7784-7dac-40b5-a391-efabebb228d3" providerId="ADAL" clId="{F01D4D53-011C-4EB6-97C1-55E4155B0CC6}" dt="2022-02-23T08:40:51.985" v="0"/>
      <pc:docMkLst>
        <pc:docMk/>
      </pc:docMkLst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8370001" sldId="27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563952106" sldId="28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20544008" sldId="28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86349833" sldId="29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40042121" sldId="29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483631185" sldId="29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176653745" sldId="29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84083800" sldId="31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672746191" sldId="31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09066160" sldId="31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558325371" sldId="32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087205575" sldId="32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71835148" sldId="32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839263946" sldId="33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141118460" sldId="33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768869850" sldId="33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3521793" sldId="33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82169009" sldId="334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47106097" sldId="335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995067089" sldId="336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479969689" sldId="337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084079554" sldId="338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231909040" sldId="339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3983236087" sldId="340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018643726" sldId="341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611808819" sldId="342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1831290368" sldId="343"/>
        </pc:sldMkLst>
      </pc:sldChg>
      <pc:sldChg chg="modNotes">
        <pc:chgData name="Jakobsen, Lone (SGRE OF OPS MFG BDK SCL SM)" userId="b97f7784-7dac-40b5-a391-efabebb228d3" providerId="ADAL" clId="{F01D4D53-011C-4EB6-97C1-55E4155B0CC6}" dt="2022-02-23T08:40:51.985" v="0"/>
        <pc:sldMkLst>
          <pc:docMk/>
          <pc:sldMk cId="2138284291" sldId="344"/>
        </pc:sldMkLst>
      </pc:sldChg>
    </pc:docChg>
  </pc:docChgLst>
  <pc:docChgLst>
    <pc:chgData name="Wind-Larsen, Taus (SGRE TE N NT SYC&amp;MAT)" userId="S::taus.wind-larsen@siemensgamesa.com::909f4c56-f0bd-48e2-b5e6-c85fd07560b7" providerId="AD" clId="Web-{6A7B4BCA-A5DD-07A6-08E0-9805C6701E11}"/>
    <pc:docChg chg="modSld">
      <pc:chgData name="Wind-Larsen, Taus (SGRE TE N NT SYC&amp;MAT)" userId="S::taus.wind-larsen@siemensgamesa.com::909f4c56-f0bd-48e2-b5e6-c85fd07560b7" providerId="AD" clId="Web-{6A7B4BCA-A5DD-07A6-08E0-9805C6701E11}" dt="2023-02-23T13:11:10.655" v="52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6A7B4BCA-A5DD-07A6-08E0-9805C6701E11}" dt="2023-02-23T13:11:10.655" v="52" actId="20577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6A7B4BCA-A5DD-07A6-08E0-9805C6701E11}" dt="2023-02-23T13:11:10.655" v="52" actId="20577"/>
          <ac:spMkLst>
            <pc:docMk/>
            <pc:sldMk cId="3672746191" sldId="313"/>
            <ac:spMk id="11" creationId="{A6A93498-D709-4606-93BB-0C3A4FCE74B9}"/>
          </ac:spMkLst>
        </pc:spChg>
      </pc:sldChg>
    </pc:docChg>
  </pc:docChgLst>
  <pc:docChgLst>
    <pc:chgData name="Schadwinkel, Tabea (SGRE ON NE&amp;ME PM PM-PD2)" userId="34305b5f-5da0-45ec-9d22-513723642f31" providerId="ADAL" clId="{FE417FA4-C038-4AFC-90CF-8682E29C8F64}"/>
    <pc:docChg chg="undo custSel addSld modSld modMainMaster modSection">
      <pc:chgData name="Schadwinkel, Tabea (SGRE ON NE&amp;ME PM PM-PD2)" userId="34305b5f-5da0-45ec-9d22-513723642f31" providerId="ADAL" clId="{FE417FA4-C038-4AFC-90CF-8682E29C8F64}" dt="2023-02-03T12:48:09.674" v="1332" actId="20577"/>
      <pc:docMkLst>
        <pc:docMk/>
      </pc:docMkLst>
      <pc:sldChg chg="addSp modSp">
        <pc:chgData name="Schadwinkel, Tabea (SGRE ON NE&amp;ME PM PM-PD2)" userId="34305b5f-5da0-45ec-9d22-513723642f31" providerId="ADAL" clId="{FE417FA4-C038-4AFC-90CF-8682E29C8F64}" dt="2023-02-03T12:45:49.310" v="925"/>
        <pc:sldMkLst>
          <pc:docMk/>
          <pc:sldMk cId="1109116256" sldId="257"/>
        </pc:sldMkLst>
        <pc:spChg chg="add mod">
          <ac:chgData name="Schadwinkel, Tabea (SGRE ON NE&amp;ME PM PM-PD2)" userId="34305b5f-5da0-45ec-9d22-513723642f31" providerId="ADAL" clId="{FE417FA4-C038-4AFC-90CF-8682E29C8F64}" dt="2023-02-03T12:45:49.310" v="925"/>
          <ac:spMkLst>
            <pc:docMk/>
            <pc:sldMk cId="1109116256" sldId="257"/>
            <ac:spMk id="5" creationId="{8F5BCF36-3EBA-4F3A-BC57-8863681853AD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44.088" v="924"/>
        <pc:sldMkLst>
          <pc:docMk/>
          <pc:sldMk cId="469205521" sldId="260"/>
        </pc:sldMkLst>
        <pc:spChg chg="add mod">
          <ac:chgData name="Schadwinkel, Tabea (SGRE ON NE&amp;ME PM PM-PD2)" userId="34305b5f-5da0-45ec-9d22-513723642f31" providerId="ADAL" clId="{FE417FA4-C038-4AFC-90CF-8682E29C8F64}" dt="2023-02-03T12:45:44.088" v="924"/>
          <ac:spMkLst>
            <pc:docMk/>
            <pc:sldMk cId="469205521" sldId="260"/>
            <ac:spMk id="12" creationId="{D580B207-30E7-4BF7-A013-C2B82C8EB9CC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33.879" v="922"/>
        <pc:sldMkLst>
          <pc:docMk/>
          <pc:sldMk cId="3526056995" sldId="261"/>
        </pc:sldMkLst>
        <pc:spChg chg="add mod">
          <ac:chgData name="Schadwinkel, Tabea (SGRE ON NE&amp;ME PM PM-PD2)" userId="34305b5f-5da0-45ec-9d22-513723642f31" providerId="ADAL" clId="{FE417FA4-C038-4AFC-90CF-8682E29C8F64}" dt="2023-02-03T12:45:33.879" v="922"/>
          <ac:spMkLst>
            <pc:docMk/>
            <pc:sldMk cId="3526056995" sldId="261"/>
            <ac:spMk id="10" creationId="{FF9BAB80-A8E2-4387-BC8B-DBDF8AA45F63}"/>
          </ac:spMkLst>
        </pc:spChg>
      </pc:sldChg>
      <pc:sldChg chg="addSp delSp modSp mod">
        <pc:chgData name="Schadwinkel, Tabea (SGRE ON NE&amp;ME PM PM-PD2)" userId="34305b5f-5da0-45ec-9d22-513723642f31" providerId="ADAL" clId="{FE417FA4-C038-4AFC-90CF-8682E29C8F64}" dt="2023-02-03T09:43:40.816" v="102"/>
        <pc:sldMkLst>
          <pc:docMk/>
          <pc:sldMk cId="1618370001" sldId="271"/>
        </pc:sldMkLst>
        <pc:spChg chg="mod">
          <ac:chgData name="Schadwinkel, Tabea (SGRE ON NE&amp;ME PM PM-PD2)" userId="34305b5f-5da0-45ec-9d22-513723642f31" providerId="ADAL" clId="{FE417FA4-C038-4AFC-90CF-8682E29C8F64}" dt="2023-02-03T09:43:40.654" v="44" actId="948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3:36.759" v="3" actId="20577"/>
          <ac:spMkLst>
            <pc:docMk/>
            <pc:sldMk cId="1618370001" sldId="271"/>
            <ac:spMk id="3" creationId="{00000000-0000-0000-0000-000000000000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09:43:40.808" v="100"/>
          <ac:spMkLst>
            <pc:docMk/>
            <pc:sldMk cId="1618370001" sldId="271"/>
            <ac:spMk id="6" creationId="{D4D85D30-EF52-49A6-8484-6FEFA9E7F1A6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09:43:40.816" v="102"/>
          <ac:graphicFrameMkLst>
            <pc:docMk/>
            <pc:sldMk cId="1618370001" sldId="271"/>
            <ac:graphicFrameMk id="4" creationId="{5BA0C46B-8E1E-4531-984C-2FDE96CE78D9}"/>
          </ac:graphicFrameMkLst>
        </pc:graphicFrameChg>
      </pc:sldChg>
      <pc:sldChg chg="modSp mod modNotesTx">
        <pc:chgData name="Schadwinkel, Tabea (SGRE ON NE&amp;ME PM PM-PD2)" userId="34305b5f-5da0-45ec-9d22-513723642f31" providerId="ADAL" clId="{FE417FA4-C038-4AFC-90CF-8682E29C8F64}" dt="2023-02-03T10:13:52.536" v="883" actId="20577"/>
        <pc:sldMkLst>
          <pc:docMk/>
          <pc:sldMk cId="3563952106" sldId="28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10:13:52.536" v="883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6:33.717" v="937" actId="20577"/>
        <pc:sldMkLst>
          <pc:docMk/>
          <pc:sldMk cId="1320544008" sldId="28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20544008" sldId="286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6:33.717" v="937" actId="20577"/>
          <ac:spMkLst>
            <pc:docMk/>
            <pc:sldMk cId="1320544008" sldId="286"/>
            <ac:spMk id="14" creationId="{E8F2FCE2-E593-43E0-8170-F2B98D6F1635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4:12.796" v="897" actId="20577"/>
        <pc:sldMkLst>
          <pc:docMk/>
          <pc:sldMk cId="1286349833" sldId="29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286349833" sldId="292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4:12.796" v="897" actId="20577"/>
          <ac:spMkLst>
            <pc:docMk/>
            <pc:sldMk cId="1286349833" sldId="292"/>
            <ac:spMk id="8" creationId="{25C1D783-65F8-4148-BD00-88D4A666414C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483631185" sldId="29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483631185" sldId="294"/>
            <ac:spMk id="4" creationId="{7B1880A8-F560-4971-93F0-7C14A34CF76C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176653745" sldId="29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176653745" sldId="296"/>
            <ac:spMk id="4" creationId="{7B1880A8-F560-4971-93F0-7C14A34CF76C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6:04.127" v="930" actId="20577"/>
        <pc:sldMkLst>
          <pc:docMk/>
          <pc:sldMk cId="1468755633" sldId="299"/>
        </pc:sldMkLst>
        <pc:spChg chg="add mod">
          <ac:chgData name="Schadwinkel, Tabea (SGRE ON NE&amp;ME PM PM-PD2)" userId="34305b5f-5da0-45ec-9d22-513723642f31" providerId="ADAL" clId="{FE417FA4-C038-4AFC-90CF-8682E29C8F64}" dt="2023-02-03T12:46:04.127" v="930" actId="20577"/>
          <ac:spMkLst>
            <pc:docMk/>
            <pc:sldMk cId="1468755633" sldId="299"/>
            <ac:spMk id="7" creationId="{733B5226-3826-4D37-8729-8F40D2E858EA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84083800" sldId="31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84083800" sldId="310"/>
            <ac:spMk id="4" creationId="{7B1880A8-F560-4971-93F0-7C14A34CF76C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4:51.813" v="903"/>
        <pc:sldMkLst>
          <pc:docMk/>
          <pc:sldMk cId="3672746191" sldId="313"/>
        </pc:sldMkLst>
        <pc:spChg chg="add mod">
          <ac:chgData name="Schadwinkel, Tabea (SGRE ON NE&amp;ME PM PM-PD2)" userId="34305b5f-5da0-45ec-9d22-513723642f31" providerId="ADAL" clId="{FE417FA4-C038-4AFC-90CF-8682E29C8F64}" dt="2023-02-03T12:44:51.813" v="903"/>
          <ac:spMkLst>
            <pc:docMk/>
            <pc:sldMk cId="3672746191" sldId="313"/>
            <ac:spMk id="21" creationId="{19A9172B-7BFC-4E11-BDE5-5904FE9AB29E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4:47.051" v="902" actId="20577"/>
        <pc:sldMkLst>
          <pc:docMk/>
          <pc:sldMk cId="1209066160" sldId="314"/>
        </pc:sldMkLst>
        <pc:spChg chg="add mod">
          <ac:chgData name="Schadwinkel, Tabea (SGRE ON NE&amp;ME PM PM-PD2)" userId="34305b5f-5da0-45ec-9d22-513723642f31" providerId="ADAL" clId="{FE417FA4-C038-4AFC-90CF-8682E29C8F64}" dt="2023-02-03T12:44:47.051" v="902" actId="20577"/>
          <ac:spMkLst>
            <pc:docMk/>
            <pc:sldMk cId="1209066160" sldId="314"/>
            <ac:spMk id="10" creationId="{9239D953-C2B7-456D-ABBE-8C4CF2FAC255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00653347" sldId="315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00653347" sldId="315"/>
            <ac:spMk id="4" creationId="{A2CA8F2D-3D41-43EB-9407-356EAAB1F6A4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5:30.529" v="921" actId="1076"/>
        <pc:sldMkLst>
          <pc:docMk/>
          <pc:sldMk cId="577488301" sldId="318"/>
        </pc:sldMkLst>
        <pc:spChg chg="add mod">
          <ac:chgData name="Schadwinkel, Tabea (SGRE ON NE&amp;ME PM PM-PD2)" userId="34305b5f-5da0-45ec-9d22-513723642f31" providerId="ADAL" clId="{FE417FA4-C038-4AFC-90CF-8682E29C8F64}" dt="2023-02-03T12:45:30.529" v="921" actId="1076"/>
          <ac:spMkLst>
            <pc:docMk/>
            <pc:sldMk cId="577488301" sldId="318"/>
            <ac:spMk id="19" creationId="{34B1DE14-9AF0-42B9-9602-8334CE41B224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558325371" sldId="32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558325371" sldId="322"/>
            <ac:spMk id="4" creationId="{0AB29B1F-D274-4F54-A777-B1BCA3CBCEE3}"/>
          </ac:spMkLst>
        </pc:spChg>
      </pc:sldChg>
      <pc:sldChg chg="addSp delSp modSp mod">
        <pc:chgData name="Schadwinkel, Tabea (SGRE ON NE&amp;ME PM PM-PD2)" userId="34305b5f-5da0-45ec-9d22-513723642f31" providerId="ADAL" clId="{FE417FA4-C038-4AFC-90CF-8682E29C8F64}" dt="2023-02-03T12:47:32.950" v="1111" actId="20577"/>
        <pc:sldMkLst>
          <pc:docMk/>
          <pc:sldMk cId="4087205575" sldId="323"/>
        </pc:sldMkLst>
        <pc:spChg chg="mod">
          <ac:chgData name="Schadwinkel, Tabea (SGRE ON NE&amp;ME PM PM-PD2)" userId="34305b5f-5da0-45ec-9d22-513723642f31" providerId="ADAL" clId="{FE417FA4-C038-4AFC-90CF-8682E29C8F64}" dt="2023-02-03T12:47:25.061" v="1052" actId="948"/>
          <ac:spMkLst>
            <pc:docMk/>
            <pc:sldMk cId="4087205575" sldId="323"/>
            <ac:spMk id="2" creationId="{54329A1D-5733-4D01-B538-36178393AF26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3.644" v="1005"/>
          <ac:spMkLst>
            <pc:docMk/>
            <pc:sldMk cId="4087205575" sldId="323"/>
            <ac:spMk id="3" creationId="{FCA77768-1BD5-47FF-BBF9-2F0884680473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087205575" sldId="323"/>
            <ac:spMk id="4" creationId="{0AB29B1F-D274-4F54-A777-B1BCA3CBCEE3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4.372" v="1048"/>
          <ac:spMkLst>
            <pc:docMk/>
            <pc:sldMk cId="4087205575" sldId="323"/>
            <ac:spMk id="8" creationId="{5E281D00-597E-4977-9B55-4B3F864E0134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25.279" v="1091"/>
          <ac:spMkLst>
            <pc:docMk/>
            <pc:sldMk cId="4087205575" sldId="323"/>
            <ac:spMk id="9" creationId="{C6138AD0-6EB6-44F0-99D2-A1BC6D89BE38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7:32.950" v="1111" actId="20577"/>
          <ac:spMkLst>
            <pc:docMk/>
            <pc:sldMk cId="4087205575" sldId="323"/>
            <ac:spMk id="10" creationId="{D8401354-1951-4A22-A8A3-B5C1C3B1823D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12:47:25.288" v="1093"/>
          <ac:graphicFrameMkLst>
            <pc:docMk/>
            <pc:sldMk cId="4087205575" sldId="323"/>
            <ac:graphicFrameMk id="7" creationId="{C2E1FD7A-6B81-4A2C-A69F-E9E0FBC2131B}"/>
          </ac:graphicFrameMkLst>
        </pc:graphicFrame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71835148" sldId="329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71835148" sldId="329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839263946" sldId="33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839263946" sldId="330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141118460" sldId="331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141118460" sldId="331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768869850" sldId="33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768869850" sldId="332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3521793" sldId="333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3521793" sldId="333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82169009" sldId="33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882169009" sldId="334"/>
            <ac:spMk id="4" creationId="{0AB29B1F-D274-4F54-A777-B1BCA3CBCEE3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5:18.219" v="911" actId="1076"/>
        <pc:sldMkLst>
          <pc:docMk/>
          <pc:sldMk cId="3047106097" sldId="335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047106097" sldId="335"/>
            <ac:spMk id="4" creationId="{0AB29B1F-D274-4F54-A777-B1BCA3CBCEE3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5:18.219" v="911" actId="1076"/>
          <ac:spMkLst>
            <pc:docMk/>
            <pc:sldMk cId="3047106097" sldId="335"/>
            <ac:spMk id="6" creationId="{9A669856-75AB-4CC8-9855-CA4419B896CD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4:55.016" v="904"/>
        <pc:sldMkLst>
          <pc:docMk/>
          <pc:sldMk cId="995067089" sldId="336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995067089" sldId="336"/>
            <ac:spMk id="4" creationId="{7B1880A8-F560-4971-93F0-7C14A34CF76C}"/>
          </ac:spMkLst>
        </pc:spChg>
        <pc:spChg chg="add mod">
          <ac:chgData name="Schadwinkel, Tabea (SGRE ON NE&amp;ME PM PM-PD2)" userId="34305b5f-5da0-45ec-9d22-513723642f31" providerId="ADAL" clId="{FE417FA4-C038-4AFC-90CF-8682E29C8F64}" dt="2023-02-03T12:44:55.016" v="904"/>
          <ac:spMkLst>
            <pc:docMk/>
            <pc:sldMk cId="995067089" sldId="336"/>
            <ac:spMk id="58" creationId="{ACB29AC8-665D-4B10-BBDF-DBA4B9C509CF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479969689" sldId="337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479969689" sldId="337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084079554" sldId="338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084079554" sldId="338"/>
            <ac:spMk id="4" creationId="{0AB29B1F-D274-4F54-A777-B1BCA3CBCEE3}"/>
          </ac:spMkLst>
        </pc:spChg>
      </pc:sldChg>
      <pc:sldChg chg="addSp modSp mod">
        <pc:chgData name="Schadwinkel, Tabea (SGRE ON NE&amp;ME PM PM-PD2)" userId="34305b5f-5da0-45ec-9d22-513723642f31" providerId="ADAL" clId="{FE417FA4-C038-4AFC-90CF-8682E29C8F64}" dt="2023-02-03T12:43:59.399" v="888" actId="20577"/>
        <pc:sldMkLst>
          <pc:docMk/>
          <pc:sldMk cId="1231909040" sldId="339"/>
        </pc:sldMkLst>
        <pc:spChg chg="add mod">
          <ac:chgData name="Schadwinkel, Tabea (SGRE ON NE&amp;ME PM PM-PD2)" userId="34305b5f-5da0-45ec-9d22-513723642f31" providerId="ADAL" clId="{FE417FA4-C038-4AFC-90CF-8682E29C8F64}" dt="2023-02-03T12:43:59.399" v="888" actId="20577"/>
          <ac:spMkLst>
            <pc:docMk/>
            <pc:sldMk cId="1231909040" sldId="339"/>
            <ac:spMk id="3" creationId="{4F530DFB-6CE1-4CBB-AB1F-E56027EAA7F1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231909040" sldId="339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3983236087" sldId="340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3983236087" sldId="340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018643726" sldId="341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018643726" sldId="341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611808819" sldId="342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611808819" sldId="342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1831290368" sldId="343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1831290368" sldId="343"/>
            <ac:spMk id="4" creationId="{0AB29B1F-D274-4F54-A777-B1BCA3CBCEE3}"/>
          </ac:spMkLst>
        </pc:spChg>
      </pc:sldChg>
      <pc:sldChg chg="modSp">
        <pc:chgData name="Schadwinkel, Tabea (SGRE ON NE&amp;ME PM PM-PD2)" userId="34305b5f-5da0-45ec-9d22-513723642f31" providerId="ADAL" clId="{FE417FA4-C038-4AFC-90CF-8682E29C8F64}" dt="2023-02-03T09:44:30.538" v="103"/>
        <pc:sldMkLst>
          <pc:docMk/>
          <pc:sldMk cId="2138284291" sldId="344"/>
        </pc:sldMkLst>
        <pc:spChg chg="mod">
          <ac:chgData name="Schadwinkel, Tabea (SGRE ON NE&amp;ME PM PM-PD2)" userId="34305b5f-5da0-45ec-9d22-513723642f31" providerId="ADAL" clId="{FE417FA4-C038-4AFC-90CF-8682E29C8F64}" dt="2023-02-03T09:44:30.538" v="103"/>
          <ac:spMkLst>
            <pc:docMk/>
            <pc:sldMk cId="2138284291" sldId="344"/>
            <ac:spMk id="4" creationId="{0AB29B1F-D274-4F54-A777-B1BCA3CBCEE3}"/>
          </ac:spMkLst>
        </pc:spChg>
      </pc:sldChg>
      <pc:sldChg chg="addSp modSp">
        <pc:chgData name="Schadwinkel, Tabea (SGRE ON NE&amp;ME PM PM-PD2)" userId="34305b5f-5da0-45ec-9d22-513723642f31" providerId="ADAL" clId="{FE417FA4-C038-4AFC-90CF-8682E29C8F64}" dt="2023-02-03T12:45:38.921" v="923"/>
        <pc:sldMkLst>
          <pc:docMk/>
          <pc:sldMk cId="1211001049" sldId="345"/>
        </pc:sldMkLst>
        <pc:spChg chg="add mod">
          <ac:chgData name="Schadwinkel, Tabea (SGRE ON NE&amp;ME PM PM-PD2)" userId="34305b5f-5da0-45ec-9d22-513723642f31" providerId="ADAL" clId="{FE417FA4-C038-4AFC-90CF-8682E29C8F64}" dt="2023-02-03T12:45:38.921" v="923"/>
          <ac:spMkLst>
            <pc:docMk/>
            <pc:sldMk cId="1211001049" sldId="345"/>
            <ac:spMk id="14" creationId="{89DE109F-A729-42A7-8FF1-51F248EDCE99}"/>
          </ac:spMkLst>
        </pc:spChg>
      </pc:sldChg>
      <pc:sldChg chg="addSp delSp modSp add mod">
        <pc:chgData name="Schadwinkel, Tabea (SGRE ON NE&amp;ME PM PM-PD2)" userId="34305b5f-5da0-45ec-9d22-513723642f31" providerId="ADAL" clId="{FE417FA4-C038-4AFC-90CF-8682E29C8F64}" dt="2023-02-03T12:48:09.674" v="1332" actId="20577"/>
        <pc:sldMkLst>
          <pc:docMk/>
          <pc:sldMk cId="3844324542" sldId="347"/>
        </pc:sldMkLst>
        <pc:spChg chg="mod">
          <ac:chgData name="Schadwinkel, Tabea (SGRE ON NE&amp;ME PM PM-PD2)" userId="34305b5f-5da0-45ec-9d22-513723642f31" providerId="ADAL" clId="{FE417FA4-C038-4AFC-90CF-8682E29C8F64}" dt="2023-02-03T12:47:53.476" v="1275" actId="948"/>
          <ac:spMkLst>
            <pc:docMk/>
            <pc:sldMk cId="3844324542" sldId="347"/>
            <ac:spMk id="2" creationId="{54329A1D-5733-4D01-B538-36178393AF26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47.854" v="1158"/>
          <ac:spMkLst>
            <pc:docMk/>
            <pc:sldMk cId="3844324542" sldId="347"/>
            <ac:spMk id="3" creationId="{61132B9A-AD46-48E5-A6E6-EA2939D2F2FB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1.183" v="1221"/>
          <ac:spMkLst>
            <pc:docMk/>
            <pc:sldMk cId="3844324542" sldId="347"/>
            <ac:spMk id="8" creationId="{D29357D6-A55B-4122-AA76-88011A48C383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2.038" v="1264"/>
          <ac:spMkLst>
            <pc:docMk/>
            <pc:sldMk cId="3844324542" sldId="347"/>
            <ac:spMk id="9" creationId="{1A4D6ADB-D89E-4C6E-B80B-AA46EA5A387F}"/>
          </ac:spMkLst>
        </pc:spChg>
        <pc:spChg chg="mod">
          <ac:chgData name="Schadwinkel, Tabea (SGRE ON NE&amp;ME PM PM-PD2)" userId="34305b5f-5da0-45ec-9d22-513723642f31" providerId="ADAL" clId="{FE417FA4-C038-4AFC-90CF-8682E29C8F64}" dt="2023-02-03T12:48:09.674" v="1332" actId="20577"/>
          <ac:spMkLst>
            <pc:docMk/>
            <pc:sldMk cId="3844324542" sldId="347"/>
            <ac:spMk id="10" creationId="{D8401354-1951-4A22-A8A3-B5C1C3B1823D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12:47:53.606" v="1314"/>
          <ac:spMkLst>
            <pc:docMk/>
            <pc:sldMk cId="3844324542" sldId="347"/>
            <ac:spMk id="11" creationId="{B6A37090-4AFB-4DAC-8A34-3C736D3C5289}"/>
          </ac:spMkLst>
        </pc:spChg>
        <pc:graphicFrameChg chg="mod">
          <ac:chgData name="Schadwinkel, Tabea (SGRE ON NE&amp;ME PM PM-PD2)" userId="34305b5f-5da0-45ec-9d22-513723642f31" providerId="ADAL" clId="{FE417FA4-C038-4AFC-90CF-8682E29C8F64}" dt="2023-02-03T12:47:53.611" v="1316"/>
          <ac:graphicFrameMkLst>
            <pc:docMk/>
            <pc:sldMk cId="3844324542" sldId="347"/>
            <ac:graphicFrameMk id="7" creationId="{C2E1FD7A-6B81-4A2C-A69F-E9E0FBC2131B}"/>
          </ac:graphicFrameMkLst>
        </pc:graphicFrameChg>
        <pc:picChg chg="del">
          <ac:chgData name="Schadwinkel, Tabea (SGRE ON NE&amp;ME PM PM-PD2)" userId="34305b5f-5da0-45ec-9d22-513723642f31" providerId="ADAL" clId="{FE417FA4-C038-4AFC-90CF-8682E29C8F64}" dt="2023-02-03T12:47:43.307" v="1114" actId="478"/>
          <ac:picMkLst>
            <pc:docMk/>
            <pc:sldMk cId="3844324542" sldId="347"/>
            <ac:picMk id="6" creationId="{191E5F50-010B-4C4B-A478-AA0E412665B7}"/>
          </ac:picMkLst>
        </pc:picChg>
      </pc:sldChg>
      <pc:sldMasterChg chg="addSp delSp modSp mod">
        <pc:chgData name="Schadwinkel, Tabea (SGRE ON NE&amp;ME PM PM-PD2)" userId="34305b5f-5da0-45ec-9d22-513723642f31" providerId="ADAL" clId="{FE417FA4-C038-4AFC-90CF-8682E29C8F64}" dt="2023-02-03T09:43:40.806" v="98"/>
        <pc:sldMasterMkLst>
          <pc:docMk/>
          <pc:sldMasterMk cId="4062162087" sldId="2147483702"/>
        </pc:sldMasterMkLst>
        <pc:spChg chg="mod">
          <ac:chgData name="Schadwinkel, Tabea (SGRE ON NE&amp;ME PM PM-PD2)" userId="34305b5f-5da0-45ec-9d22-513723642f31" providerId="ADAL" clId="{FE417FA4-C038-4AFC-90CF-8682E29C8F64}" dt="2023-02-03T09:43:40.544" v="6" actId="948"/>
          <ac:spMkLst>
            <pc:docMk/>
            <pc:sldMasterMk cId="4062162087" sldId="2147483702"/>
            <ac:spMk id="2" creationId="{458583FC-BE70-4D91-8E7C-E9CFC7D02E81}"/>
          </ac:spMkLst>
        </pc:spChg>
        <pc:spChg chg="add del mod modVis">
          <ac:chgData name="Schadwinkel, Tabea (SGRE ON NE&amp;ME PM PM-PD2)" userId="34305b5f-5da0-45ec-9d22-513723642f31" providerId="ADAL" clId="{FE417FA4-C038-4AFC-90CF-8682E29C8F64}" dt="2023-02-03T09:43:40.741" v="83"/>
          <ac:spMkLst>
            <pc:docMk/>
            <pc:sldMasterMk cId="4062162087" sldId="2147483702"/>
            <ac:spMk id="7" creationId="{788F1467-AD86-4227-9743-F13D9DDBD6C5}"/>
          </ac:spMkLst>
        </pc:spChg>
        <pc:graphicFrameChg chg="add mod ord modVis">
          <ac:chgData name="Schadwinkel, Tabea (SGRE ON NE&amp;ME PM PM-PD2)" userId="34305b5f-5da0-45ec-9d22-513723642f31" providerId="ADAL" clId="{FE417FA4-C038-4AFC-90CF-8682E29C8F64}" dt="2023-02-03T09:43:40.806" v="98"/>
          <ac:graphicFrameMkLst>
            <pc:docMk/>
            <pc:sldMasterMk cId="4062162087" sldId="2147483702"/>
            <ac:graphicFrameMk id="8" creationId="{634679AA-857B-4017-ACAA-C7C885E34245}"/>
          </ac:graphicFrameMkLst>
        </pc:graphicFrameChg>
      </pc:sldMasterChg>
    </pc:docChg>
  </pc:docChgLst>
  <pc:docChgLst>
    <pc:chgData name="Wind-Larsen, Taus (SGRE TE N NT SYC&amp;MAT)" userId="909f4c56-f0bd-48e2-b5e6-c85fd07560b7" providerId="ADAL" clId="{2DABF693-B97D-4D4E-8522-93DA4DBD1CD0}"/>
    <pc:docChg chg="undo custSel addSld delSld modSld sldOrd modSection">
      <pc:chgData name="Wind-Larsen, Taus (SGRE TE N NT SYC&amp;MAT)" userId="909f4c56-f0bd-48e2-b5e6-c85fd07560b7" providerId="ADAL" clId="{2DABF693-B97D-4D4E-8522-93DA4DBD1CD0}" dt="2023-02-24T06:46:23.757" v="5774" actId="20577"/>
      <pc:docMkLst>
        <pc:docMk/>
      </pc:docMkLst>
      <pc:sldChg chg="modSp mod">
        <pc:chgData name="Wind-Larsen, Taus (SGRE TE N NT SYC&amp;MAT)" userId="909f4c56-f0bd-48e2-b5e6-c85fd07560b7" providerId="ADAL" clId="{2DABF693-B97D-4D4E-8522-93DA4DBD1CD0}" dt="2023-02-22T21:01:30.725" v="8" actId="20577"/>
        <pc:sldMkLst>
          <pc:docMk/>
          <pc:sldMk cId="3563952106" sldId="284"/>
        </pc:sldMkLst>
        <pc:spChg chg="mod">
          <ac:chgData name="Wind-Larsen, Taus (SGRE TE N NT SYC&amp;MAT)" userId="909f4c56-f0bd-48e2-b5e6-c85fd07560b7" providerId="ADAL" clId="{2DABF693-B97D-4D4E-8522-93DA4DBD1CD0}" dt="2023-02-22T21:01:30.725" v="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delSp modSp mod delAnim">
        <pc:chgData name="Wind-Larsen, Taus (SGRE TE N NT SYC&amp;MAT)" userId="909f4c56-f0bd-48e2-b5e6-c85fd07560b7" providerId="ADAL" clId="{2DABF693-B97D-4D4E-8522-93DA4DBD1CD0}" dt="2023-02-22T21:23:30.872" v="2340" actId="1076"/>
        <pc:sldMkLst>
          <pc:docMk/>
          <pc:sldMk cId="1320544008" sldId="286"/>
        </pc:sldMkLst>
        <pc:spChg chg="del">
          <ac:chgData name="Wind-Larsen, Taus (SGRE TE N NT SYC&amp;MAT)" userId="909f4c56-f0bd-48e2-b5e6-c85fd07560b7" providerId="ADAL" clId="{2DABF693-B97D-4D4E-8522-93DA4DBD1CD0}" dt="2023-02-22T21:23:25.871" v="2339" actId="478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23:30.872" v="2340" actId="1076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2T21:59:10.149" v="2553" actId="20577"/>
        <pc:sldMkLst>
          <pc:docMk/>
          <pc:sldMk cId="1286349833" sldId="292"/>
        </pc:sldMkLst>
        <pc:graphicFrameChg chg="modGraphic">
          <ac:chgData name="Wind-Larsen, Taus (SGRE TE N NT SYC&amp;MAT)" userId="909f4c56-f0bd-48e2-b5e6-c85fd07560b7" providerId="ADAL" clId="{2DABF693-B97D-4D4E-8522-93DA4DBD1CD0}" dt="2023-02-22T21:59:10.149" v="2553" actId="20577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modSp mod">
        <pc:chgData name="Wind-Larsen, Taus (SGRE TE N NT SYC&amp;MAT)" userId="909f4c56-f0bd-48e2-b5e6-c85fd07560b7" providerId="ADAL" clId="{2DABF693-B97D-4D4E-8522-93DA4DBD1CD0}" dt="2023-02-22T21:31:20.402" v="2517" actId="14100"/>
        <pc:sldMkLst>
          <pc:docMk/>
          <pc:sldMk cId="1840042121" sldId="293"/>
        </pc:sldMkLst>
        <pc:spChg chg="mod">
          <ac:chgData name="Wind-Larsen, Taus (SGRE TE N NT SYC&amp;MAT)" userId="909f4c56-f0bd-48e2-b5e6-c85fd07560b7" providerId="ADAL" clId="{2DABF693-B97D-4D4E-8522-93DA4DBD1CD0}" dt="2023-02-22T21:31:08.960" v="2516" actId="14100"/>
          <ac:spMkLst>
            <pc:docMk/>
            <pc:sldMk cId="1840042121" sldId="293"/>
            <ac:spMk id="9" creationId="{AF7B6429-EB7C-432F-B4E4-2BABD1841238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31:20.402" v="2517" actId="14100"/>
          <ac:spMkLst>
            <pc:docMk/>
            <pc:sldMk cId="1840042121" sldId="293"/>
            <ac:spMk id="10" creationId="{BD5C9BD0-DEBA-441F-9811-E50C4D0B74CF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4T06:46:23.757" v="5774" actId="20577"/>
        <pc:sldMkLst>
          <pc:docMk/>
          <pc:sldMk cId="2483631185" sldId="294"/>
        </pc:sldMkLst>
        <pc:spChg chg="mod">
          <ac:chgData name="Wind-Larsen, Taus (SGRE TE N NT SYC&amp;MAT)" userId="909f4c56-f0bd-48e2-b5e6-c85fd07560b7" providerId="ADAL" clId="{2DABF693-B97D-4D4E-8522-93DA4DBD1CD0}" dt="2023-02-24T06:46:23.757" v="5774" actId="20577"/>
          <ac:spMkLst>
            <pc:docMk/>
            <pc:sldMk cId="2483631185" sldId="294"/>
            <ac:spMk id="9" creationId="{BD6FEC16-E623-48C9-9672-CDEEC8F33320}"/>
          </ac:spMkLst>
        </pc:spChg>
      </pc:sldChg>
      <pc:sldChg chg="modSp mod">
        <pc:chgData name="Wind-Larsen, Taus (SGRE TE N NT SYC&amp;MAT)" userId="909f4c56-f0bd-48e2-b5e6-c85fd07560b7" providerId="ADAL" clId="{2DABF693-B97D-4D4E-8522-93DA4DBD1CD0}" dt="2023-02-23T17:43:51.699" v="5679" actId="20577"/>
        <pc:sldMkLst>
          <pc:docMk/>
          <pc:sldMk cId="284083800" sldId="310"/>
        </pc:sldMkLst>
        <pc:spChg chg="mod">
          <ac:chgData name="Wind-Larsen, Taus (SGRE TE N NT SYC&amp;MAT)" userId="909f4c56-f0bd-48e2-b5e6-c85fd07560b7" providerId="ADAL" clId="{2DABF693-B97D-4D4E-8522-93DA4DBD1CD0}" dt="2023-02-23T17:43:51.699" v="5679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mod">
        <pc:chgData name="Wind-Larsen, Taus (SGRE TE N NT SYC&amp;MAT)" userId="909f4c56-f0bd-48e2-b5e6-c85fd07560b7" providerId="ADAL" clId="{2DABF693-B97D-4D4E-8522-93DA4DBD1CD0}" dt="2023-02-22T22:50:54.562" v="5475"/>
        <pc:sldMkLst>
          <pc:docMk/>
          <pc:sldMk cId="3672746191" sldId="313"/>
        </pc:sldMkLst>
        <pc:spChg chg="mod ord">
          <ac:chgData name="Wind-Larsen, Taus (SGRE TE N NT SYC&amp;MAT)" userId="909f4c56-f0bd-48e2-b5e6-c85fd07560b7" providerId="ADAL" clId="{2DABF693-B97D-4D4E-8522-93DA4DBD1CD0}" dt="2023-02-22T22:50:54.523" v="5461" actId="948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396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398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402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4" v="5392"/>
          <ac:spMkLst>
            <pc:docMk/>
            <pc:sldMk cId="3672746191" sldId="313"/>
            <ac:spMk id="6" creationId="{FB9CFFEC-C97F-4015-BB00-142261497CA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1:57.392" v="1721"/>
          <ac:spMkLst>
            <pc:docMk/>
            <pc:sldMk cId="3672746191" sldId="313"/>
            <ac:spMk id="8" creationId="{11193457-07FA-4CF1-8384-08A24E6431A4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2:41.707" v="1806"/>
          <ac:spMkLst>
            <pc:docMk/>
            <pc:sldMk cId="3672746191" sldId="313"/>
            <ac:spMk id="9" creationId="{341DC8F0-BF0D-4350-92F3-5E9AEA6C249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03.796" v="5400"/>
          <ac:spMkLst>
            <pc:docMk/>
            <pc:sldMk cId="3672746191" sldId="313"/>
            <ac:spMk id="11" creationId="{A6A93498-D709-4606-93BB-0C3A4FCE74B9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5.105" v="4714"/>
          <ac:spMkLst>
            <pc:docMk/>
            <pc:sldMk cId="3672746191" sldId="313"/>
            <ac:spMk id="12" creationId="{C9388BFE-7F5B-44CE-B750-98B10748A22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6.093" v="4869"/>
          <ac:spMkLst>
            <pc:docMk/>
            <pc:sldMk cId="3672746191" sldId="313"/>
            <ac:spMk id="14" creationId="{C7861C31-5A38-4339-A09A-F7CF33734E5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7.628" v="4956"/>
          <ac:spMkLst>
            <pc:docMk/>
            <pc:sldMk cId="3672746191" sldId="313"/>
            <ac:spMk id="15" creationId="{86E98824-056B-4B9E-B427-2A76DADFF982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8.178" v="5113"/>
          <ac:spMkLst>
            <pc:docMk/>
            <pc:sldMk cId="3672746191" sldId="313"/>
            <ac:spMk id="16" creationId="{5EAA5BF1-F64B-4EBE-8176-9DB8493459C2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8:49.722" v="5200"/>
          <ac:spMkLst>
            <pc:docMk/>
            <pc:sldMk cId="3672746191" sldId="313"/>
            <ac:spMk id="17" creationId="{CB9DC9D9-F075-400E-A00C-C44CE2E726B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9:31.165" v="5334"/>
          <ac:spMkLst>
            <pc:docMk/>
            <pc:sldMk cId="3672746191" sldId="313"/>
            <ac:spMk id="18" creationId="{115F5E0A-7EE1-450D-91ED-876C5964347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50:03.831" v="5419"/>
          <ac:spMkLst>
            <pc:docMk/>
            <pc:sldMk cId="3672746191" sldId="313"/>
            <ac:spMk id="19" creationId="{DC57D217-9447-4F38-84D0-2138CB361BF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796" v="5404"/>
          <ac:spMkLst>
            <pc:docMk/>
            <pc:sldMk cId="3672746191" sldId="313"/>
            <ac:spMk id="22" creationId="{DCB4E8C8-EECC-43C2-8C2C-221CF3F69B77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8:48.071" v="5068"/>
          <ac:spMkLst>
            <pc:docMk/>
            <pc:sldMk cId="3672746191" sldId="313"/>
            <ac:spMk id="28" creationId="{E07DC3C4-224F-4A59-B4A5-5F292DD07BB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8"/>
          <ac:spMkLst>
            <pc:docMk/>
            <pc:sldMk cId="3672746191" sldId="313"/>
            <ac:spMk id="29" creationId="{574F7830-3277-4CAD-98A5-F693E90BB130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9"/>
          <ac:spMkLst>
            <pc:docMk/>
            <pc:sldMk cId="3672746191" sldId="313"/>
            <ac:spMk id="31" creationId="{1391917A-2AE4-4098-82E0-056E2DBDF031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8:50.473" v="5213"/>
          <ac:spMkLst>
            <pc:docMk/>
            <pc:sldMk cId="3672746191" sldId="313"/>
            <ac:spMk id="34" creationId="{6681232B-2648-4223-B143-69B13931407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2" v="5405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6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03.814" v="5407"/>
          <ac:spMkLst>
            <pc:docMk/>
            <pc:sldMk cId="3672746191" sldId="313"/>
            <ac:spMk id="46" creationId="{C4A7604B-C9E6-4085-B19C-DBC83134F05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54.535" v="5467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0:54.543" v="5473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54.531" v="5465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0:54.541" v="5471"/>
          <ac:spMkLst>
            <pc:docMk/>
            <pc:sldMk cId="3672746191" sldId="313"/>
            <ac:spMk id="52" creationId="{184377C7-E3A0-4F75-9525-93272C2BD576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50:54.562" v="5475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add mod ord modGraphic">
          <ac:chgData name="Wind-Larsen, Taus (SGRE TE N NT SYC&amp;MAT)" userId="909f4c56-f0bd-48e2-b5e6-c85fd07560b7" providerId="ADAL" clId="{2DABF693-B97D-4D4E-8522-93DA4DBD1CD0}" dt="2023-02-22T22:50:03.831" v="5417"/>
          <ac:graphicFrameMkLst>
            <pc:docMk/>
            <pc:sldMk cId="3672746191" sldId="313"/>
            <ac:graphicFrameMk id="10" creationId="{DB9C8805-685F-4317-BA0B-D2504044CA59}"/>
          </ac:graphicFrameMkLst>
        </pc:graphicFrameChg>
        <pc:graphicFrameChg chg="del mod ord modGraphic">
          <ac:chgData name="Wind-Larsen, Taus (SGRE TE N NT SYC&amp;MAT)" userId="909f4c56-f0bd-48e2-b5e6-c85fd07560b7" providerId="ADAL" clId="{2DABF693-B97D-4D4E-8522-93DA4DBD1CD0}" dt="2023-02-22T22:40:40.755" v="2587" actId="478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2:41.573" v="1772"/>
          <ac:graphicFrameMkLst>
            <pc:docMk/>
            <pc:sldMk cId="3672746191" sldId="313"/>
            <ac:graphicFrameMk id="23" creationId="{42FB258D-628C-4D61-8732-602BC5A52332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4.993" v="4680"/>
          <ac:graphicFrameMkLst>
            <pc:docMk/>
            <pc:sldMk cId="3672746191" sldId="313"/>
            <ac:graphicFrameMk id="24" creationId="{01645C1C-2321-4547-892B-C5302C7728C7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6.003" v="4834"/>
          <ac:graphicFrameMkLst>
            <pc:docMk/>
            <pc:sldMk cId="3672746191" sldId="313"/>
            <ac:graphicFrameMk id="27" creationId="{5AB44B36-69FF-4497-ABBD-A7FAEA0A96BB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7.526" v="4921"/>
          <ac:graphicFrameMkLst>
            <pc:docMk/>
            <pc:sldMk cId="3672746191" sldId="313"/>
            <ac:graphicFrameMk id="30" creationId="{F7947334-CC5C-4CD8-9958-5E74780C7F3A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11:57.218" v="1687"/>
          <ac:graphicFrameMkLst>
            <pc:docMk/>
            <pc:sldMk cId="3672746191" sldId="313"/>
            <ac:graphicFrameMk id="32" creationId="{DB1F2E28-A975-4D9B-9391-3B98560D81F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8.088" v="5078"/>
          <ac:graphicFrameMkLst>
            <pc:docMk/>
            <pc:sldMk cId="3672746191" sldId="313"/>
            <ac:graphicFrameMk id="33" creationId="{C2EFDAA9-1FF8-40DE-9AEB-F2A73A3DE117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49.617" v="5165"/>
          <ac:graphicFrameMkLst>
            <pc:docMk/>
            <pc:sldMk cId="3672746191" sldId="313"/>
            <ac:graphicFrameMk id="35" creationId="{2CAD9927-B2EA-4D08-8AAC-EBFD7741D6E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8:50.474" v="5215"/>
          <ac:graphicFrameMkLst>
            <pc:docMk/>
            <pc:sldMk cId="3672746191" sldId="313"/>
            <ac:graphicFrameMk id="37" creationId="{ED7C406E-4883-4DF0-8E00-F14C8FFFD98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9:31.027" v="5300"/>
          <ac:graphicFrameMkLst>
            <pc:docMk/>
            <pc:sldMk cId="3672746191" sldId="313"/>
            <ac:graphicFrameMk id="38" creationId="{124B0F90-3B6B-4366-97BC-2FA4C07ED6A6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0:03.633" v="5385"/>
          <ac:graphicFrameMkLst>
            <pc:docMk/>
            <pc:sldMk cId="3672746191" sldId="313"/>
            <ac:graphicFrameMk id="40" creationId="{3EA12365-A2EE-4132-9257-D3C978DB514D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50:03.796" v="5403"/>
          <ac:graphicFrameMkLst>
            <pc:docMk/>
            <pc:sldMk cId="3672746191" sldId="313"/>
            <ac:graphicFrameMk id="42" creationId="{87E04BC3-23DD-4B42-92AF-0345DEF0EE6C}"/>
          </ac:graphicFrameMkLst>
        </pc:graphicFrameChg>
      </pc:sldChg>
      <pc:sldChg chg="addSp delSp modSp mod">
        <pc:chgData name="Wind-Larsen, Taus (SGRE TE N NT SYC&amp;MAT)" userId="909f4c56-f0bd-48e2-b5e6-c85fd07560b7" providerId="ADAL" clId="{2DABF693-B97D-4D4E-8522-93DA4DBD1CD0}" dt="2023-02-22T22:51:29.827" v="5600"/>
        <pc:sldMkLst>
          <pc:docMk/>
          <pc:sldMk cId="1209066160" sldId="314"/>
        </pc:sldMkLst>
        <pc:spChg chg="mod ord">
          <ac:chgData name="Wind-Larsen, Taus (SGRE TE N NT SYC&amp;MAT)" userId="909f4c56-f0bd-48e2-b5e6-c85fd07560b7" providerId="ADAL" clId="{2DABF693-B97D-4D4E-8522-93DA4DBD1CD0}" dt="2023-02-22T22:51:29.785" v="5566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6" v="5568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8" v="5570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90" v="5574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3" v="5564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89" v="5572"/>
          <ac:spMkLst>
            <pc:docMk/>
            <pc:sldMk cId="1209066160" sldId="314"/>
            <ac:spMk id="9" creationId="{04F17845-4D22-45ED-9899-3BF6E77ACD44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14:44.134" v="2028"/>
          <ac:spMkLst>
            <pc:docMk/>
            <pc:sldMk cId="1209066160" sldId="314"/>
            <ac:spMk id="10" creationId="{3903F647-B266-4FD1-BA5E-D9CC464270CC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13.898" v="4300"/>
          <ac:spMkLst>
            <pc:docMk/>
            <pc:sldMk cId="1209066160" sldId="314"/>
            <ac:spMk id="13" creationId="{51F5D725-9D93-4506-87D6-C88338E23A78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28.695" v="4499"/>
          <ac:spMkLst>
            <pc:docMk/>
            <pc:sldMk cId="1209066160" sldId="314"/>
            <ac:spMk id="14" creationId="{A37A2705-47DF-4358-B025-E201A1257786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6:34.824" v="4626"/>
          <ac:spMkLst>
            <pc:docMk/>
            <pc:sldMk cId="1209066160" sldId="314"/>
            <ac:spMk id="15" creationId="{7470EC0F-4DCF-492B-B304-764981533B6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1" v="5586"/>
          <ac:spMkLst>
            <pc:docMk/>
            <pc:sldMk cId="1209066160" sldId="314"/>
            <ac:spMk id="26" creationId="{5D8DC933-BD83-4105-A2C4-90E882B5AF2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4" v="5589"/>
          <ac:spMkLst>
            <pc:docMk/>
            <pc:sldMk cId="1209066160" sldId="314"/>
            <ac:spMk id="27" creationId="{517F3945-3335-456D-836F-959B7E8B38D7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798" v="5584"/>
          <ac:spMkLst>
            <pc:docMk/>
            <pc:sldMk cId="1209066160" sldId="314"/>
            <ac:spMk id="28" creationId="{2FD4225D-9A52-463F-89E3-923BA9F25DF4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7" v="5592"/>
          <ac:spMkLst>
            <pc:docMk/>
            <pc:sldMk cId="1209066160" sldId="314"/>
            <ac:spMk id="29" creationId="{D23A7011-DA9F-46FF-9DC4-389776FF4EFF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6:15.430" v="4316"/>
          <ac:spMkLst>
            <pc:docMk/>
            <pc:sldMk cId="1209066160" sldId="314"/>
            <ac:spMk id="35" creationId="{3466FF8F-AFD3-46D5-BE8A-11FB1A1E3E2D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792" v="5576"/>
          <ac:spMkLst>
            <pc:docMk/>
            <pc:sldMk cId="1209066160" sldId="314"/>
            <ac:spMk id="57" creationId="{6FAB43A1-EA11-4255-B86F-726004BB6D60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5" v="5590"/>
          <ac:spMkLst>
            <pc:docMk/>
            <pc:sldMk cId="1209066160" sldId="314"/>
            <ac:spMk id="59" creationId="{25CFCEC0-B110-4174-A12D-60BA5D61B64C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6" v="5591"/>
          <ac:spMkLst>
            <pc:docMk/>
            <pc:sldMk cId="1209066160" sldId="314"/>
            <ac:spMk id="61" creationId="{D13114FD-DCB1-4DA4-A7D1-73E0F6D540AF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10" v="5594"/>
          <ac:spMkLst>
            <pc:docMk/>
            <pc:sldMk cId="1209066160" sldId="314"/>
            <ac:spMk id="63" creationId="{D3696484-1079-407D-8807-61547CA1741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799" v="5585"/>
          <ac:spMkLst>
            <pc:docMk/>
            <pc:sldMk cId="1209066160" sldId="314"/>
            <ac:spMk id="65" creationId="{290E05D6-59AA-47D6-A84B-621B888831E2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9" v="5593"/>
          <ac:spMkLst>
            <pc:docMk/>
            <pc:sldMk cId="1209066160" sldId="314"/>
            <ac:spMk id="67" creationId="{529E55F6-06A8-434C-B0E0-D8A9D0616ED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2" v="5587"/>
          <ac:spMkLst>
            <pc:docMk/>
            <pc:sldMk cId="1209066160" sldId="314"/>
            <ac:spMk id="69" creationId="{20DA7BC9-8807-475C-9621-163B010D237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51:29.810" v="5596"/>
          <ac:spMkLst>
            <pc:docMk/>
            <pc:sldMk cId="1209066160" sldId="314"/>
            <ac:spMk id="78" creationId="{4ACE6BF3-1590-4A5A-94F5-E5E6F38680BE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51:29.803" v="5588"/>
          <ac:spMkLst>
            <pc:docMk/>
            <pc:sldMk cId="1209066160" sldId="314"/>
            <ac:spMk id="175" creationId="{713D82D2-1066-4FEE-96C3-92967F850F8B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51:29.827" v="5600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del mod ord modGraphic">
          <ac:chgData name="Wind-Larsen, Taus (SGRE TE N NT SYC&amp;MAT)" userId="909f4c56-f0bd-48e2-b5e6-c85fd07560b7" providerId="ADAL" clId="{2DABF693-B97D-4D4E-8522-93DA4DBD1CD0}" dt="2023-02-22T22:07:58.210" v="2570" actId="478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 modGraphic">
          <ac:chgData name="Wind-Larsen, Taus (SGRE TE N NT SYC&amp;MAT)" userId="909f4c56-f0bd-48e2-b5e6-c85fd07560b7" providerId="ADAL" clId="{2DABF693-B97D-4D4E-8522-93DA4DBD1CD0}" dt="2023-02-22T22:08:20.742" v="2578"/>
          <ac:graphicFrameMkLst>
            <pc:docMk/>
            <pc:sldMk cId="1209066160" sldId="314"/>
            <ac:graphicFrameMk id="11" creationId="{FD1B50E2-8874-4E85-920E-3B377D3233E2}"/>
          </ac:graphicFrameMkLst>
        </pc:graphicFrameChg>
        <pc:graphicFrameChg chg="add mod ord modGraphic">
          <ac:chgData name="Wind-Larsen, Taus (SGRE TE N NT SYC&amp;MAT)" userId="909f4c56-f0bd-48e2-b5e6-c85fd07560b7" providerId="ADAL" clId="{2DABF693-B97D-4D4E-8522-93DA4DBD1CD0}" dt="2023-02-22T22:51:29.812" v="5598"/>
          <ac:graphicFrameMkLst>
            <pc:docMk/>
            <pc:sldMk cId="1209066160" sldId="314"/>
            <ac:graphicFrameMk id="12" creationId="{4F2EECDB-E909-4AE8-8DB1-8C0FF2702131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47.091" v="2047"/>
          <ac:graphicFrameMkLst>
            <pc:docMk/>
            <pc:sldMk cId="1209066160" sldId="314"/>
            <ac:graphicFrameMk id="30" creationId="{E5F86018-6935-432A-AB41-430B2A1B120F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48.100" v="2110"/>
          <ac:graphicFrameMkLst>
            <pc:docMk/>
            <pc:sldMk cId="1209066160" sldId="314"/>
            <ac:graphicFrameMk id="31" creationId="{73E22435-BD9C-4CDF-B14C-8B7A9EAF12ED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54.346" v="2173"/>
          <ac:graphicFrameMkLst>
            <pc:docMk/>
            <pc:sldMk cId="1209066160" sldId="314"/>
            <ac:graphicFrameMk id="32" creationId="{6D938380-93E8-4F20-BF93-F8902BC11F75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14:56.378" v="2236"/>
          <ac:graphicFrameMkLst>
            <pc:docMk/>
            <pc:sldMk cId="1209066160" sldId="314"/>
            <ac:graphicFrameMk id="33" creationId="{A5ACD3A0-E112-44DF-A4AA-261B87D0DED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13.820" v="4256"/>
          <ac:graphicFrameMkLst>
            <pc:docMk/>
            <pc:sldMk cId="1209066160" sldId="314"/>
            <ac:graphicFrameMk id="34" creationId="{C237130A-FE59-4C3C-818F-C3C87D54B53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15.434" v="4319"/>
          <ac:graphicFrameMkLst>
            <pc:docMk/>
            <pc:sldMk cId="1209066160" sldId="314"/>
            <ac:graphicFrameMk id="37" creationId="{CB4195C9-BEFF-44E0-8EEF-78C4B3AAD2C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28.535" v="4456"/>
          <ac:graphicFrameMkLst>
            <pc:docMk/>
            <pc:sldMk cId="1209066160" sldId="314"/>
            <ac:graphicFrameMk id="38" creationId="{1C5EED04-126F-4718-8B2F-EDA24B2BB689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14:44.033" v="1985"/>
          <ac:graphicFrameMkLst>
            <pc:docMk/>
            <pc:sldMk cId="1209066160" sldId="314"/>
            <ac:graphicFrameMk id="39" creationId="{52DD6675-BFBA-4EBA-A15C-09B0CA72DC78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6:34.611" v="4583"/>
          <ac:graphicFrameMkLst>
            <pc:docMk/>
            <pc:sldMk cId="1209066160" sldId="314"/>
            <ac:graphicFrameMk id="40" creationId="{2FB92B45-33DF-4255-8E19-3FFBC0E64429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1:28.478" v="5495"/>
          <ac:graphicFrameMkLst>
            <pc:docMk/>
            <pc:sldMk cId="1209066160" sldId="314"/>
            <ac:graphicFrameMk id="42" creationId="{76D24B3F-2912-46E6-B998-C1C77F3C8FE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51:29.704" v="5557"/>
          <ac:graphicFrameMkLst>
            <pc:docMk/>
            <pc:sldMk cId="1209066160" sldId="314"/>
            <ac:graphicFrameMk id="43" creationId="{4B534374-A847-49F6-BD2D-8456BA6789A5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51:29.793" v="5577"/>
          <ac:graphicFrameMkLst>
            <pc:docMk/>
            <pc:sldMk cId="1209066160" sldId="314"/>
            <ac:graphicFrameMk id="44" creationId="{A8A5EC22-E8C4-4CBE-B9BC-BBD6CC51973A}"/>
          </ac:graphicFrameMkLst>
        </pc:graphicFrameChg>
        <pc:cxnChg chg="mod ord">
          <ac:chgData name="Wind-Larsen, Taus (SGRE TE N NT SYC&amp;MAT)" userId="909f4c56-f0bd-48e2-b5e6-c85fd07560b7" providerId="ADAL" clId="{2DABF693-B97D-4D4E-8522-93DA4DBD1CD0}" dt="2023-02-22T22:51:29.794" v="5579"/>
          <ac:cxnSpMkLst>
            <pc:docMk/>
            <pc:sldMk cId="1209066160" sldId="314"/>
            <ac:cxnSpMk id="80" creationId="{2032FEFB-C5FB-42FB-BAEA-44B4B7259EF6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51:29.795" v="5581"/>
          <ac:cxnSpMkLst>
            <pc:docMk/>
            <pc:sldMk cId="1209066160" sldId="314"/>
            <ac:cxnSpMk id="81" creationId="{7021908F-59F2-4B5E-8BF9-6817B069FB09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51:29.797" v="5583"/>
          <ac:cxnSpMkLst>
            <pc:docMk/>
            <pc:sldMk cId="1209066160" sldId="314"/>
            <ac:cxnSpMk id="82" creationId="{259E0AE8-F58F-4CC5-9FC4-712F6CEA1C13}"/>
          </ac:cxnSpMkLst>
        </pc:cxnChg>
      </pc:sldChg>
      <pc:sldChg chg="addSp delSp modSp mod">
        <pc:chgData name="Wind-Larsen, Taus (SGRE TE N NT SYC&amp;MAT)" userId="909f4c56-f0bd-48e2-b5e6-c85fd07560b7" providerId="ADAL" clId="{2DABF693-B97D-4D4E-8522-93DA4DBD1CD0}" dt="2023-02-22T22:45:54.027" v="4135"/>
        <pc:sldMkLst>
          <pc:docMk/>
          <pc:sldMk cId="995067089" sldId="336"/>
        </pc:sldMkLst>
        <pc:spChg chg="mod ord">
          <ac:chgData name="Wind-Larsen, Taus (SGRE TE N NT SYC&amp;MAT)" userId="909f4c56-f0bd-48e2-b5e6-c85fd07560b7" providerId="ADAL" clId="{2DABF693-B97D-4D4E-8522-93DA4DBD1CD0}" dt="2023-02-22T22:45:53.851" v="4031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51" v="4033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61" v="4035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64" v="4037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51" v="4029"/>
          <ac:spMkLst>
            <pc:docMk/>
            <pc:sldMk cId="995067089" sldId="336"/>
            <ac:spMk id="6" creationId="{FB9CFFEC-C97F-4015-BB00-142261497CAB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1"/>
          <ac:spMkLst>
            <pc:docMk/>
            <pc:sldMk cId="995067089" sldId="336"/>
            <ac:spMk id="8" creationId="{187BBAD4-56C8-4FCA-8C7D-82703B0EE0DF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2"/>
          <ac:spMkLst>
            <pc:docMk/>
            <pc:sldMk cId="995067089" sldId="336"/>
            <ac:spMk id="9" creationId="{25D0E781-6390-4B97-8D9C-FE343E77ABE6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80" v="4053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5:22.619" v="367"/>
          <ac:spMkLst>
            <pc:docMk/>
            <pc:sldMk cId="995067089" sldId="336"/>
            <ac:spMk id="11" creationId="{7BB5E664-C921-43D2-8915-B6D580FA03D7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899" v="4062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09" v="4063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5:54.860" v="588"/>
          <ac:spMkLst>
            <pc:docMk/>
            <pc:sldMk cId="995067089" sldId="336"/>
            <ac:spMk id="14" creationId="{0DA23B6C-2B66-4413-A913-B195FD9AE63A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9" v="4059"/>
          <ac:spMkLst>
            <pc:docMk/>
            <pc:sldMk cId="995067089" sldId="336"/>
            <ac:spMk id="15" creationId="{38D4CA74-0128-4EAA-852F-032BEBB475C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9" v="4061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8" v="4111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6" v="4110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7:10.246" v="809"/>
          <ac:spMkLst>
            <pc:docMk/>
            <pc:sldMk cId="995067089" sldId="336"/>
            <ac:spMk id="21" creationId="{CBC81366-7246-49B8-8C99-54C4F9A1951E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1:08:21.483" v="1390"/>
          <ac:spMkLst>
            <pc:docMk/>
            <pc:sldMk cId="995067089" sldId="336"/>
            <ac:spMk id="22" creationId="{D367EE96-66BE-418A-9010-BB8BF1F267AA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2:13.131" v="3131"/>
          <ac:spMkLst>
            <pc:docMk/>
            <pc:sldMk cId="995067089" sldId="336"/>
            <ac:spMk id="23" creationId="{6A397CC8-1F9A-49CD-9190-465A552483EF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2:26.075" v="3363"/>
          <ac:spMkLst>
            <pc:docMk/>
            <pc:sldMk cId="995067089" sldId="336"/>
            <ac:spMk id="27" creationId="{A45BF7B0-43C7-4E7D-B200-5D2EE9E836F7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28.418" v="3559"/>
          <ac:spMkLst>
            <pc:docMk/>
            <pc:sldMk cId="995067089" sldId="336"/>
            <ac:spMk id="28" creationId="{5C4E2DC6-DFEF-4987-A3FC-E36896C76D78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4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39.098" v="3800"/>
          <ac:spMkLst>
            <pc:docMk/>
            <pc:sldMk cId="995067089" sldId="336"/>
            <ac:spMk id="31" creationId="{875202B0-E3ED-4B69-AD7C-EC23452A3FA9}"/>
          </ac:spMkLst>
        </pc:spChg>
        <pc:spChg chg="add del mod modVis">
          <ac:chgData name="Wind-Larsen, Taus (SGRE TE N NT SYC&amp;MAT)" userId="909f4c56-f0bd-48e2-b5e6-c85fd07560b7" providerId="ADAL" clId="{2DABF693-B97D-4D4E-8522-93DA4DBD1CD0}" dt="2023-02-22T22:45:54.005" v="4133"/>
          <ac:spMkLst>
            <pc:docMk/>
            <pc:sldMk cId="995067089" sldId="336"/>
            <ac:spMk id="32" creationId="{09418B5A-29D8-4088-B7F4-1086FF466E4C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20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4" v="4122"/>
          <ac:spMkLst>
            <pc:docMk/>
            <pc:sldMk cId="995067089" sldId="336"/>
            <ac:spMk id="46" creationId="{1E6101ED-100D-4B6A-8DA2-F3321B817201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3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4.003" v="4131"/>
          <ac:spMkLst>
            <pc:docMk/>
            <pc:sldMk cId="995067089" sldId="336"/>
            <ac:spMk id="57" creationId="{B7694804-DC6A-43CE-9BD9-B104836C0EF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68" v="4107"/>
          <ac:spMkLst>
            <pc:docMk/>
            <pc:sldMk cId="995067089" sldId="336"/>
            <ac:spMk id="59" creationId="{6DED8F48-E301-40CC-B3D7-3B4E9873C32D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1" v="4108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4"/>
          <ac:spMkLst>
            <pc:docMk/>
            <pc:sldMk cId="995067089" sldId="336"/>
            <ac:spMk id="65" creationId="{F6FF8EF2-A5BE-4D68-8588-5B5299C52F1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8"/>
          <ac:spMkLst>
            <pc:docMk/>
            <pc:sldMk cId="995067089" sldId="336"/>
            <ac:spMk id="68" creationId="{328A41FE-90DE-46C9-84D1-81AB94ED3C13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71" v="4109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16"/>
          <ac:spMkLst>
            <pc:docMk/>
            <pc:sldMk cId="995067089" sldId="336"/>
            <ac:spMk id="72" creationId="{CA154379-494E-4734-89D2-5992D0D34B53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24" v="3196"/>
          <ac:spMkLst>
            <pc:docMk/>
            <pc:sldMk cId="995067089" sldId="336"/>
            <ac:spMk id="73" creationId="{B9DAB79D-FE5A-4BFF-9EF5-D2E07E3234EE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30" v="3198"/>
          <ac:spMkLst>
            <pc:docMk/>
            <pc:sldMk cId="995067089" sldId="336"/>
            <ac:spMk id="74" creationId="{FBAC4605-9D30-497D-AED4-F03CAF85E6C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80" v="4118"/>
          <ac:spMkLst>
            <pc:docMk/>
            <pc:sldMk cId="995067089" sldId="336"/>
            <ac:spMk id="75" creationId="{5AAE0FCC-5711-4B2D-8099-067EC412D0D6}"/>
          </ac:spMkLst>
        </pc:spChg>
        <pc:spChg chg="add del mod ord">
          <ac:chgData name="Wind-Larsen, Taus (SGRE TE N NT SYC&amp;MAT)" userId="909f4c56-f0bd-48e2-b5e6-c85fd07560b7" providerId="ADAL" clId="{2DABF693-B97D-4D4E-8522-93DA4DBD1CD0}" dt="2023-02-22T22:42:25.735" v="3200"/>
          <ac:spMkLst>
            <pc:docMk/>
            <pc:sldMk cId="995067089" sldId="336"/>
            <ac:spMk id="79" creationId="{CB0DA4A7-F498-49E2-87DF-3204F0F46C3D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2:25.740" v="3201"/>
          <ac:spMkLst>
            <pc:docMk/>
            <pc:sldMk cId="995067089" sldId="336"/>
            <ac:spMk id="80" creationId="{98B0AA76-4B08-400D-9AAC-30AD0E9E4437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30"/>
          <ac:spMkLst>
            <pc:docMk/>
            <pc:sldMk cId="995067089" sldId="336"/>
            <ac:spMk id="81" creationId="{5E9A0431-BF35-46E7-86D1-5EAE1306955C}"/>
          </ac:spMkLst>
        </pc:spChg>
        <pc:spChg chg="mod">
          <ac:chgData name="Wind-Larsen, Taus (SGRE TE N NT SYC&amp;MAT)" userId="909f4c56-f0bd-48e2-b5e6-c85fd07560b7" providerId="ADAL" clId="{2DABF693-B97D-4D4E-8522-93DA4DBD1CD0}" dt="2023-02-22T22:45:53.980" v="4112"/>
          <ac:spMkLst>
            <pc:docMk/>
            <pc:sldMk cId="995067089" sldId="336"/>
            <ac:spMk id="82" creationId="{2E9474F6-EC0B-425B-9EA6-75051CF86416}"/>
          </ac:spMkLst>
        </pc:spChg>
        <pc:spChg chg="add del mod">
          <ac:chgData name="Wind-Larsen, Taus (SGRE TE N NT SYC&amp;MAT)" userId="909f4c56-f0bd-48e2-b5e6-c85fd07560b7" providerId="ADAL" clId="{2DABF693-B97D-4D4E-8522-93DA4DBD1CD0}" dt="2023-02-22T22:45:41.224" v="3815"/>
          <ac:spMkLst>
            <pc:docMk/>
            <pc:sldMk cId="995067089" sldId="336"/>
            <ac:spMk id="86" creationId="{23891275-06D1-4B6A-A0A8-6DDD80E87749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996" v="4126"/>
          <ac:spMkLst>
            <pc:docMk/>
            <pc:sldMk cId="995067089" sldId="336"/>
            <ac:spMk id="91" creationId="{0A9CA739-4907-402B-984F-CB49908024C8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80" v="4055"/>
          <ac:spMkLst>
            <pc:docMk/>
            <pc:sldMk cId="995067089" sldId="336"/>
            <ac:spMk id="141" creationId="{57F94C1C-B279-482E-81AE-EFDD3558C11D}"/>
          </ac:spMkLst>
        </pc:spChg>
        <pc:spChg chg="mod ord">
          <ac:chgData name="Wind-Larsen, Taus (SGRE TE N NT SYC&amp;MAT)" userId="909f4c56-f0bd-48e2-b5e6-c85fd07560b7" providerId="ADAL" clId="{2DABF693-B97D-4D4E-8522-93DA4DBD1CD0}" dt="2023-02-22T22:45:53.897" v="4057"/>
          <ac:spMkLst>
            <pc:docMk/>
            <pc:sldMk cId="995067089" sldId="336"/>
            <ac:spMk id="149" creationId="{B6FB31CF-AD53-433E-B0C9-F3438737437F}"/>
          </ac:spMkLst>
        </pc:spChg>
        <pc:graphicFrameChg chg="mod">
          <ac:chgData name="Wind-Larsen, Taus (SGRE TE N NT SYC&amp;MAT)" userId="909f4c56-f0bd-48e2-b5e6-c85fd07560b7" providerId="ADAL" clId="{2DABF693-B97D-4D4E-8522-93DA4DBD1CD0}" dt="2023-02-22T22:45:54.027" v="4135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05:54.671" v="477"/>
          <ac:graphicFrameMkLst>
            <pc:docMk/>
            <pc:sldMk cId="995067089" sldId="336"/>
            <ac:graphicFrameMk id="64" creationId="{D49DB4D8-C2E7-420F-9A58-E0F0585967C5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1:07:10.031" v="698"/>
          <ac:graphicFrameMkLst>
            <pc:docMk/>
            <pc:sldMk cId="995067089" sldId="336"/>
            <ac:graphicFrameMk id="66" creationId="{DD2F0AEA-A536-4A4E-9E08-42547E7F63AD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2:12.969" v="3013"/>
          <ac:graphicFrameMkLst>
            <pc:docMk/>
            <pc:sldMk cId="995067089" sldId="336"/>
            <ac:graphicFrameMk id="70" creationId="{A1913D8B-A29B-422D-A4A1-7A57420F00E9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38.972" v="3688"/>
          <ac:graphicFrameMkLst>
            <pc:docMk/>
            <pc:sldMk cId="995067089" sldId="336"/>
            <ac:graphicFrameMk id="71" creationId="{51DEBAB2-28BE-4F6E-8B48-37136E427B7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2:25.846" v="3252"/>
          <ac:graphicFrameMkLst>
            <pc:docMk/>
            <pc:sldMk cId="995067089" sldId="336"/>
            <ac:graphicFrameMk id="83" creationId="{6D9F4CEC-AFFA-4504-B744-32C8F0A35636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28.059" v="3448"/>
          <ac:graphicFrameMkLst>
            <pc:docMk/>
            <pc:sldMk cId="995067089" sldId="336"/>
            <ac:graphicFrameMk id="84" creationId="{A29C3731-BE50-49C1-BDB0-AAFB76F67ED1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45:53.864" v="4038"/>
          <ac:graphicFrameMkLst>
            <pc:docMk/>
            <pc:sldMk cId="995067089" sldId="336"/>
            <ac:graphicFrameMk id="85" creationId="{7E5EDDFB-75F8-43A5-A3CA-1666CC9D9583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41.261" v="3824"/>
          <ac:graphicFrameMkLst>
            <pc:docMk/>
            <pc:sldMk cId="995067089" sldId="336"/>
            <ac:graphicFrameMk id="87" creationId="{79E6A56A-1305-4743-A992-23FECBAA278E}"/>
          </ac:graphicFrameMkLst>
        </pc:graphicFrameChg>
        <pc:graphicFrameChg chg="add del mod">
          <ac:chgData name="Wind-Larsen, Taus (SGRE TE N NT SYC&amp;MAT)" userId="909f4c56-f0bd-48e2-b5e6-c85fd07560b7" providerId="ADAL" clId="{2DABF693-B97D-4D4E-8522-93DA4DBD1CD0}" dt="2023-02-22T22:45:53.756" v="4022"/>
          <ac:graphicFrameMkLst>
            <pc:docMk/>
            <pc:sldMk cId="995067089" sldId="336"/>
            <ac:graphicFrameMk id="88" creationId="{D3EF93AD-BB46-49E0-A71D-8FD38D41F111}"/>
          </ac:graphicFrameMkLst>
        </pc:graphicFrameChg>
        <pc:graphicFrameChg chg="add mod">
          <ac:chgData name="Wind-Larsen, Taus (SGRE TE N NT SYC&amp;MAT)" userId="909f4c56-f0bd-48e2-b5e6-c85fd07560b7" providerId="ADAL" clId="{2DABF693-B97D-4D4E-8522-93DA4DBD1CD0}" dt="2023-02-22T22:45:53.911" v="4064"/>
          <ac:graphicFrameMkLst>
            <pc:docMk/>
            <pc:sldMk cId="995067089" sldId="336"/>
            <ac:graphicFrameMk id="89" creationId="{1EAAA6DE-549A-43DB-9E69-90DA82A4BD49}"/>
          </ac:graphicFrameMkLst>
        </pc:graphicFrameChg>
        <pc:graphicFrameChg chg="del mod">
          <ac:chgData name="Wind-Larsen, Taus (SGRE TE N NT SYC&amp;MAT)" userId="909f4c56-f0bd-48e2-b5e6-c85fd07560b7" providerId="ADAL" clId="{2DABF693-B97D-4D4E-8522-93DA4DBD1CD0}" dt="2023-02-22T21:08:21.215" v="1279"/>
          <ac:graphicFrameMkLst>
            <pc:docMk/>
            <pc:sldMk cId="995067089" sldId="336"/>
            <ac:graphicFrameMk id="127" creationId="{F416EE0D-0EC7-48C6-A7E6-69DD5ACC7BBC}"/>
          </ac:graphicFrameMkLst>
        </pc:graphicFrameChg>
        <pc:graphicFrameChg chg="del">
          <ac:chgData name="Wind-Larsen, Taus (SGRE TE N NT SYC&amp;MAT)" userId="909f4c56-f0bd-48e2-b5e6-c85fd07560b7" providerId="ADAL" clId="{2DABF693-B97D-4D4E-8522-93DA4DBD1CD0}" dt="2023-02-22T21:05:22.357" v="256"/>
          <ac:graphicFrameMkLst>
            <pc:docMk/>
            <pc:sldMk cId="995067089" sldId="336"/>
            <ac:graphicFrameMk id="130" creationId="{6CE93F88-6C0E-41F2-B273-DA9E11D61B61}"/>
          </ac:graphicFrameMkLst>
        </pc:graphicFrameChg>
        <pc:cxnChg chg="mod ord">
          <ac:chgData name="Wind-Larsen, Taus (SGRE TE N NT SYC&amp;MAT)" userId="909f4c56-f0bd-48e2-b5e6-c85fd07560b7" providerId="ADAL" clId="{2DABF693-B97D-4D4E-8522-93DA4DBD1CD0}" dt="2023-02-22T22:45:53.928" v="4078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4"/>
          <ac:cxnSpMkLst>
            <pc:docMk/>
            <pc:sldMk cId="995067089" sldId="336"/>
            <ac:cxnSpMk id="20" creationId="{72FAB806-EB20-436C-87B5-28D8EF7EB177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2"/>
          <ac:cxnSpMkLst>
            <pc:docMk/>
            <pc:sldMk cId="995067089" sldId="336"/>
            <ac:cxnSpMk id="24" creationId="{AC4CFDB7-5CEE-4E51-9FE9-56A5912483F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4"/>
          <ac:cxnSpMkLst>
            <pc:docMk/>
            <pc:sldMk cId="995067089" sldId="336"/>
            <ac:cxnSpMk id="25" creationId="{D3C0D745-91DE-4C28-B8C4-8DC9828B19FB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6"/>
          <ac:cxnSpMkLst>
            <pc:docMk/>
            <pc:sldMk cId="995067089" sldId="336"/>
            <ac:cxnSpMk id="26" creationId="{740267CD-CDAF-4FD4-8F97-72D7A50BB3D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6"/>
          <ac:cxnSpMkLst>
            <pc:docMk/>
            <pc:sldMk cId="995067089" sldId="336"/>
            <ac:cxnSpMk id="29" creationId="{46A1E996-40EC-4BD6-9829-2557FA5A9038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45" v="4092"/>
          <ac:cxnSpMkLst>
            <pc:docMk/>
            <pc:sldMk cId="995067089" sldId="336"/>
            <ac:cxnSpMk id="33" creationId="{E383A03B-4EFE-4722-A291-8E5A4377589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4"/>
          <ac:cxnSpMkLst>
            <pc:docMk/>
            <pc:sldMk cId="995067089" sldId="336"/>
            <ac:cxnSpMk id="34" creationId="{11268D81-9C64-47EA-AAFD-6DC41003206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68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44" v="4090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6"/>
          <ac:cxnSpMkLst>
            <pc:docMk/>
            <pc:sldMk cId="995067089" sldId="336"/>
            <ac:cxnSpMk id="41" creationId="{20E6E158-6032-4451-97DA-CF98B60F71A2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0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8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28" v="4082"/>
          <ac:cxnSpMkLst>
            <pc:docMk/>
            <pc:sldMk cId="995067089" sldId="336"/>
            <ac:cxnSpMk id="48" creationId="{1FA06BA3-C521-419C-99C9-FD10F87FB5B8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66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0"/>
          <ac:cxnSpMkLst>
            <pc:docMk/>
            <pc:sldMk cId="995067089" sldId="336"/>
            <ac:cxnSpMk id="54" creationId="{03A409E1-EDDF-45CB-A701-858D39DE881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6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2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11" v="4074"/>
          <ac:cxnSpMkLst>
            <pc:docMk/>
            <pc:sldMk cId="995067089" sldId="336"/>
            <ac:cxnSpMk id="78" creationId="{B4B73418-303A-4AE9-B9CE-FBC3397F41D6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098"/>
          <ac:cxnSpMkLst>
            <pc:docMk/>
            <pc:sldMk cId="995067089" sldId="336"/>
            <ac:cxnSpMk id="92" creationId="{B541F855-06A9-4E08-9DEF-743786F8BF17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951" v="4100"/>
          <ac:cxnSpMkLst>
            <pc:docMk/>
            <pc:sldMk cId="995067089" sldId="336"/>
            <ac:cxnSpMk id="94" creationId="{490D833C-7ADA-47A3-B56E-4239395CEC8A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64" v="4040"/>
          <ac:cxnSpMkLst>
            <pc:docMk/>
            <pc:sldMk cId="995067089" sldId="336"/>
            <ac:cxnSpMk id="143" creationId="{9F075E6E-6E8D-4B51-AAAA-86999184EDF9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77" v="4044"/>
          <ac:cxnSpMkLst>
            <pc:docMk/>
            <pc:sldMk cId="995067089" sldId="336"/>
            <ac:cxnSpMk id="144" creationId="{18554E66-610B-4EAC-BAC0-72582685382B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64" v="4042"/>
          <ac:cxnSpMkLst>
            <pc:docMk/>
            <pc:sldMk cId="995067089" sldId="336"/>
            <ac:cxnSpMk id="145" creationId="{7991103A-DD98-4403-B489-01103FE1388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46"/>
          <ac:cxnSpMkLst>
            <pc:docMk/>
            <pc:sldMk cId="995067089" sldId="336"/>
            <ac:cxnSpMk id="151" creationId="{B25351B5-8410-40B6-B414-5961AE306F15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48"/>
          <ac:cxnSpMkLst>
            <pc:docMk/>
            <pc:sldMk cId="995067089" sldId="336"/>
            <ac:cxnSpMk id="152" creationId="{2B5BF759-88E6-494E-9C37-4A5BEB71FC61}"/>
          </ac:cxnSpMkLst>
        </pc:cxnChg>
        <pc:cxnChg chg="mod ord">
          <ac:chgData name="Wind-Larsen, Taus (SGRE TE N NT SYC&amp;MAT)" userId="909f4c56-f0bd-48e2-b5e6-c85fd07560b7" providerId="ADAL" clId="{2DABF693-B97D-4D4E-8522-93DA4DBD1CD0}" dt="2023-02-22T22:45:53.880" v="4050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mod">
        <pc:chgData name="Wind-Larsen, Taus (SGRE TE N NT SYC&amp;MAT)" userId="909f4c56-f0bd-48e2-b5e6-c85fd07560b7" providerId="ADAL" clId="{2DABF693-B97D-4D4E-8522-93DA4DBD1CD0}" dt="2023-02-22T21:17:46.962" v="2308" actId="1076"/>
        <pc:sldMkLst>
          <pc:docMk/>
          <pc:sldMk cId="2076336558" sldId="350"/>
        </pc:sldMkLst>
        <pc:picChg chg="mod">
          <ac:chgData name="Wind-Larsen, Taus (SGRE TE N NT SYC&amp;MAT)" userId="909f4c56-f0bd-48e2-b5e6-c85fd07560b7" providerId="ADAL" clId="{2DABF693-B97D-4D4E-8522-93DA4DBD1CD0}" dt="2023-02-22T21:17:46.962" v="2308" actId="1076"/>
          <ac:picMkLst>
            <pc:docMk/>
            <pc:sldMk cId="2076336558" sldId="350"/>
            <ac:picMk id="7" creationId="{896289CA-D9B1-3992-5CC0-DDC44C27EE10}"/>
          </ac:picMkLst>
        </pc:picChg>
      </pc:sldChg>
      <pc:sldChg chg="addSp delSp modSp new add mod">
        <pc:chgData name="Wind-Larsen, Taus (SGRE TE N NT SYC&amp;MAT)" userId="909f4c56-f0bd-48e2-b5e6-c85fd07560b7" providerId="ADAL" clId="{2DABF693-B97D-4D4E-8522-93DA4DBD1CD0}" dt="2023-02-22T21:17:31.673" v="2305" actId="14100"/>
        <pc:sldMkLst>
          <pc:docMk/>
          <pc:sldMk cId="4192225459" sldId="351"/>
        </pc:sldMkLst>
        <pc:spChg chg="del">
          <ac:chgData name="Wind-Larsen, Taus (SGRE TE N NT SYC&amp;MAT)" userId="909f4c56-f0bd-48e2-b5e6-c85fd07560b7" providerId="ADAL" clId="{2DABF693-B97D-4D4E-8522-93DA4DBD1CD0}" dt="2023-02-22T21:16:21.194" v="2284" actId="478"/>
          <ac:spMkLst>
            <pc:docMk/>
            <pc:sldMk cId="4192225459" sldId="351"/>
            <ac:spMk id="2" creationId="{1851867D-80E6-4B36-BA51-E5DFE3BF11D1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17.763" v="2282" actId="478"/>
          <ac:spMkLst>
            <pc:docMk/>
            <pc:sldMk cId="4192225459" sldId="351"/>
            <ac:spMk id="3" creationId="{CBDAE853-CEC6-435A-8CC9-6865492BC5ED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22.080" v="2300" actId="478"/>
          <ac:spMkLst>
            <pc:docMk/>
            <pc:sldMk cId="4192225459" sldId="351"/>
            <ac:spMk id="4" creationId="{5809B951-BE94-4B1C-AEBC-42960408F91C}"/>
          </ac:spMkLst>
        </pc:spChg>
        <pc:spChg chg="del">
          <ac:chgData name="Wind-Larsen, Taus (SGRE TE N NT SYC&amp;MAT)" userId="909f4c56-f0bd-48e2-b5e6-c85fd07560b7" providerId="ADAL" clId="{2DABF693-B97D-4D4E-8522-93DA4DBD1CD0}" dt="2023-02-22T21:16:19.327" v="2283" actId="478"/>
          <ac:spMkLst>
            <pc:docMk/>
            <pc:sldMk cId="4192225459" sldId="351"/>
            <ac:spMk id="5" creationId="{7E3260E8-7156-42E3-B34C-BD0AB834E490}"/>
          </ac:spMkLst>
        </pc:spChg>
        <pc:graphicFrameChg chg="add mod ord modVis">
          <ac:chgData name="Wind-Larsen, Taus (SGRE TE N NT SYC&amp;MAT)" userId="909f4c56-f0bd-48e2-b5e6-c85fd07560b7" providerId="ADAL" clId="{2DABF693-B97D-4D4E-8522-93DA4DBD1CD0}" dt="2023-02-22T21:16:21.907" v="2299"/>
          <ac:graphicFrameMkLst>
            <pc:docMk/>
            <pc:sldMk cId="4192225459" sldId="351"/>
            <ac:graphicFrameMk id="7" creationId="{710C7FF6-763E-47D8-ABAB-AB7D20499A51}"/>
          </ac:graphicFrameMkLst>
        </pc:graphicFrameChg>
        <pc:picChg chg="add mod modCrop">
          <ac:chgData name="Wind-Larsen, Taus (SGRE TE N NT SYC&amp;MAT)" userId="909f4c56-f0bd-48e2-b5e6-c85fd07560b7" providerId="ADAL" clId="{2DABF693-B97D-4D4E-8522-93DA4DBD1CD0}" dt="2023-02-22T21:17:31.673" v="2305" actId="14100"/>
          <ac:picMkLst>
            <pc:docMk/>
            <pc:sldMk cId="4192225459" sldId="351"/>
            <ac:picMk id="9" creationId="{316C55D4-7E47-4C38-B2AA-348BCFD21FAC}"/>
          </ac:picMkLst>
        </pc:picChg>
      </pc:sldChg>
      <pc:sldChg chg="modSp add mod">
        <pc:chgData name="Wind-Larsen, Taus (SGRE TE N NT SYC&amp;MAT)" userId="909f4c56-f0bd-48e2-b5e6-c85fd07560b7" providerId="ADAL" clId="{2DABF693-B97D-4D4E-8522-93DA4DBD1CD0}" dt="2023-02-22T21:24:07.783" v="2364" actId="20577"/>
        <pc:sldMkLst>
          <pc:docMk/>
          <pc:sldMk cId="172667756" sldId="352"/>
        </pc:sldMkLst>
        <pc:spChg chg="mod">
          <ac:chgData name="Wind-Larsen, Taus (SGRE TE N NT SYC&amp;MAT)" userId="909f4c56-f0bd-48e2-b5e6-c85fd07560b7" providerId="ADAL" clId="{2DABF693-B97D-4D4E-8522-93DA4DBD1CD0}" dt="2023-02-22T21:24:07.783" v="2364" actId="20577"/>
          <ac:spMkLst>
            <pc:docMk/>
            <pc:sldMk cId="172667756" sldId="352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25.335" v="2409" actId="20577"/>
        <pc:sldMkLst>
          <pc:docMk/>
          <pc:sldMk cId="1704835808" sldId="353"/>
        </pc:sldMkLst>
        <pc:spChg chg="mod">
          <ac:chgData name="Wind-Larsen, Taus (SGRE TE N NT SYC&amp;MAT)" userId="909f4c56-f0bd-48e2-b5e6-c85fd07560b7" providerId="ADAL" clId="{2DABF693-B97D-4D4E-8522-93DA4DBD1CD0}" dt="2023-02-22T21:26:25.335" v="2409" actId="20577"/>
          <ac:spMkLst>
            <pc:docMk/>
            <pc:sldMk cId="1704835808" sldId="353"/>
            <ac:spMk id="6" creationId="{ECCB7D8A-828C-4A5A-87D9-D3FD263901E9}"/>
          </ac:spMkLst>
        </pc:spChg>
      </pc:sldChg>
      <pc:sldChg chg="modSp add mod ord">
        <pc:chgData name="Wind-Larsen, Taus (SGRE TE N NT SYC&amp;MAT)" userId="909f4c56-f0bd-48e2-b5e6-c85fd07560b7" providerId="ADAL" clId="{2DABF693-B97D-4D4E-8522-93DA4DBD1CD0}" dt="2023-02-22T21:26:37.802" v="2431" actId="20577"/>
        <pc:sldMkLst>
          <pc:docMk/>
          <pc:sldMk cId="746358243" sldId="354"/>
        </pc:sldMkLst>
        <pc:spChg chg="mod">
          <ac:chgData name="Wind-Larsen, Taus (SGRE TE N NT SYC&amp;MAT)" userId="909f4c56-f0bd-48e2-b5e6-c85fd07560b7" providerId="ADAL" clId="{2DABF693-B97D-4D4E-8522-93DA4DBD1CD0}" dt="2023-02-22T21:26:37.802" v="2431" actId="20577"/>
          <ac:spMkLst>
            <pc:docMk/>
            <pc:sldMk cId="746358243" sldId="354"/>
            <ac:spMk id="6" creationId="{ECCB7D8A-828C-4A5A-87D9-D3FD263901E9}"/>
          </ac:spMkLst>
        </pc:spChg>
      </pc:sldChg>
      <pc:sldChg chg="modSp add del mod">
        <pc:chgData name="Wind-Larsen, Taus (SGRE TE N NT SYC&amp;MAT)" userId="909f4c56-f0bd-48e2-b5e6-c85fd07560b7" providerId="ADAL" clId="{2DABF693-B97D-4D4E-8522-93DA4DBD1CD0}" dt="2023-02-22T21:24:39.281" v="2374"/>
        <pc:sldMkLst>
          <pc:docMk/>
          <pc:sldMk cId="3227507850" sldId="354"/>
        </pc:sldMkLst>
        <pc:spChg chg="mod">
          <ac:chgData name="Wind-Larsen, Taus (SGRE TE N NT SYC&amp;MAT)" userId="909f4c56-f0bd-48e2-b5e6-c85fd07560b7" providerId="ADAL" clId="{2DABF693-B97D-4D4E-8522-93DA4DBD1CD0}" dt="2023-02-22T21:24:39.281" v="2374"/>
          <ac:spMkLst>
            <pc:docMk/>
            <pc:sldMk cId="3227507850" sldId="354"/>
            <ac:spMk id="4" creationId="{0AB29B1F-D274-4F54-A777-B1BCA3CBCEE3}"/>
          </ac:spMkLst>
        </pc:spChg>
        <pc:spChg chg="mod">
          <ac:chgData name="Wind-Larsen, Taus (SGRE TE N NT SYC&amp;MAT)" userId="909f4c56-f0bd-48e2-b5e6-c85fd07560b7" providerId="ADAL" clId="{2DABF693-B97D-4D4E-8522-93DA4DBD1CD0}" dt="2023-02-22T21:24:39.281" v="2374"/>
          <ac:spMkLst>
            <pc:docMk/>
            <pc:sldMk cId="3227507850" sldId="354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52.712" v="2452" actId="20577"/>
        <pc:sldMkLst>
          <pc:docMk/>
          <pc:sldMk cId="818019181" sldId="355"/>
        </pc:sldMkLst>
        <pc:spChg chg="mod">
          <ac:chgData name="Wind-Larsen, Taus (SGRE TE N NT SYC&amp;MAT)" userId="909f4c56-f0bd-48e2-b5e6-c85fd07560b7" providerId="ADAL" clId="{2DABF693-B97D-4D4E-8522-93DA4DBD1CD0}" dt="2023-02-22T21:26:52.712" v="2452" actId="20577"/>
          <ac:spMkLst>
            <pc:docMk/>
            <pc:sldMk cId="818019181" sldId="355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6:58.570" v="2453" actId="113"/>
        <pc:sldMkLst>
          <pc:docMk/>
          <pc:sldMk cId="356755605" sldId="356"/>
        </pc:sldMkLst>
        <pc:spChg chg="mod">
          <ac:chgData name="Wind-Larsen, Taus (SGRE TE N NT SYC&amp;MAT)" userId="909f4c56-f0bd-48e2-b5e6-c85fd07560b7" providerId="ADAL" clId="{2DABF693-B97D-4D4E-8522-93DA4DBD1CD0}" dt="2023-02-22T21:26:58.570" v="2453" actId="113"/>
          <ac:spMkLst>
            <pc:docMk/>
            <pc:sldMk cId="356755605" sldId="356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12.091" v="2456" actId="113"/>
        <pc:sldMkLst>
          <pc:docMk/>
          <pc:sldMk cId="2176896723" sldId="357"/>
        </pc:sldMkLst>
        <pc:spChg chg="mod">
          <ac:chgData name="Wind-Larsen, Taus (SGRE TE N NT SYC&amp;MAT)" userId="909f4c56-f0bd-48e2-b5e6-c85fd07560b7" providerId="ADAL" clId="{2DABF693-B97D-4D4E-8522-93DA4DBD1CD0}" dt="2023-02-22T21:27:12.091" v="2456" actId="113"/>
          <ac:spMkLst>
            <pc:docMk/>
            <pc:sldMk cId="2176896723" sldId="357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34.836" v="2457" actId="113"/>
        <pc:sldMkLst>
          <pc:docMk/>
          <pc:sldMk cId="843878808" sldId="358"/>
        </pc:sldMkLst>
        <pc:spChg chg="mod">
          <ac:chgData name="Wind-Larsen, Taus (SGRE TE N NT SYC&amp;MAT)" userId="909f4c56-f0bd-48e2-b5e6-c85fd07560b7" providerId="ADAL" clId="{2DABF693-B97D-4D4E-8522-93DA4DBD1CD0}" dt="2023-02-22T21:27:34.836" v="2457" actId="113"/>
          <ac:spMkLst>
            <pc:docMk/>
            <pc:sldMk cId="843878808" sldId="358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27:53.315" v="2458" actId="113"/>
        <pc:sldMkLst>
          <pc:docMk/>
          <pc:sldMk cId="1581570990" sldId="359"/>
        </pc:sldMkLst>
        <pc:spChg chg="mod">
          <ac:chgData name="Wind-Larsen, Taus (SGRE TE N NT SYC&amp;MAT)" userId="909f4c56-f0bd-48e2-b5e6-c85fd07560b7" providerId="ADAL" clId="{2DABF693-B97D-4D4E-8522-93DA4DBD1CD0}" dt="2023-02-22T21:27:53.315" v="2458" actId="113"/>
          <ac:spMkLst>
            <pc:docMk/>
            <pc:sldMk cId="1581570990" sldId="359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31:27.531" v="2518" actId="113"/>
        <pc:sldMkLst>
          <pc:docMk/>
          <pc:sldMk cId="1781487789" sldId="360"/>
        </pc:sldMkLst>
        <pc:spChg chg="mod">
          <ac:chgData name="Wind-Larsen, Taus (SGRE TE N NT SYC&amp;MAT)" userId="909f4c56-f0bd-48e2-b5e6-c85fd07560b7" providerId="ADAL" clId="{2DABF693-B97D-4D4E-8522-93DA4DBD1CD0}" dt="2023-02-22T21:31:27.531" v="2518" actId="113"/>
          <ac:spMkLst>
            <pc:docMk/>
            <pc:sldMk cId="1781487789" sldId="360"/>
            <ac:spMk id="6" creationId="{ECCB7D8A-828C-4A5A-87D9-D3FD263901E9}"/>
          </ac:spMkLst>
        </pc:spChg>
      </pc:sldChg>
      <pc:sldChg chg="add del">
        <pc:chgData name="Wind-Larsen, Taus (SGRE TE N NT SYC&amp;MAT)" userId="909f4c56-f0bd-48e2-b5e6-c85fd07560b7" providerId="ADAL" clId="{2DABF693-B97D-4D4E-8522-93DA4DBD1CD0}" dt="2023-02-22T21:27:06.592" v="2455"/>
        <pc:sldMkLst>
          <pc:docMk/>
          <pc:sldMk cId="2019097450" sldId="361"/>
        </pc:sldMkLst>
      </pc:sldChg>
      <pc:sldChg chg="modSp add mod">
        <pc:chgData name="Wind-Larsen, Taus (SGRE TE N NT SYC&amp;MAT)" userId="909f4c56-f0bd-48e2-b5e6-c85fd07560b7" providerId="ADAL" clId="{2DABF693-B97D-4D4E-8522-93DA4DBD1CD0}" dt="2023-02-22T21:30:10.761" v="2508" actId="20577"/>
        <pc:sldMkLst>
          <pc:docMk/>
          <pc:sldMk cId="2719752945" sldId="361"/>
        </pc:sldMkLst>
        <pc:spChg chg="mod">
          <ac:chgData name="Wind-Larsen, Taus (SGRE TE N NT SYC&amp;MAT)" userId="909f4c56-f0bd-48e2-b5e6-c85fd07560b7" providerId="ADAL" clId="{2DABF693-B97D-4D4E-8522-93DA4DBD1CD0}" dt="2023-02-22T21:30:10.761" v="2508" actId="20577"/>
          <ac:spMkLst>
            <pc:docMk/>
            <pc:sldMk cId="2719752945" sldId="361"/>
            <ac:spMk id="6" creationId="{ECCB7D8A-828C-4A5A-87D9-D3FD263901E9}"/>
          </ac:spMkLst>
        </pc:spChg>
      </pc:sldChg>
      <pc:sldChg chg="modSp add mod">
        <pc:chgData name="Wind-Larsen, Taus (SGRE TE N NT SYC&amp;MAT)" userId="909f4c56-f0bd-48e2-b5e6-c85fd07560b7" providerId="ADAL" clId="{2DABF693-B97D-4D4E-8522-93DA4DBD1CD0}" dt="2023-02-22T21:30:57.824" v="2515" actId="113"/>
        <pc:sldMkLst>
          <pc:docMk/>
          <pc:sldMk cId="2387251017" sldId="362"/>
        </pc:sldMkLst>
        <pc:spChg chg="mod">
          <ac:chgData name="Wind-Larsen, Taus (SGRE TE N NT SYC&amp;MAT)" userId="909f4c56-f0bd-48e2-b5e6-c85fd07560b7" providerId="ADAL" clId="{2DABF693-B97D-4D4E-8522-93DA4DBD1CD0}" dt="2023-02-22T21:30:57.824" v="2515" actId="113"/>
          <ac:spMkLst>
            <pc:docMk/>
            <pc:sldMk cId="2387251017" sldId="362"/>
            <ac:spMk id="6" creationId="{ECCB7D8A-828C-4A5A-87D9-D3FD263901E9}"/>
          </ac:spMkLst>
        </pc:spChg>
      </pc:sldChg>
      <pc:sldChg chg="add del">
        <pc:chgData name="Wind-Larsen, Taus (SGRE TE N NT SYC&amp;MAT)" userId="909f4c56-f0bd-48e2-b5e6-c85fd07560b7" providerId="ADAL" clId="{2DABF693-B97D-4D4E-8522-93DA4DBD1CD0}" dt="2023-02-22T21:30:47.187" v="2512"/>
        <pc:sldMkLst>
          <pc:docMk/>
          <pc:sldMk cId="597029934" sldId="363"/>
        </pc:sldMkLst>
      </pc:sldChg>
    </pc:docChg>
  </pc:docChgLst>
  <pc:docChgLst>
    <pc:chgData name="Lund, Vibeke (SGRE COG N P M&amp;H)" userId="S::vibeke.westenholz@siemensgamesa.com::be2c167c-cc21-4c23-92b1-78ba209712f0" providerId="AD" clId="Web-{DBD15119-EC65-F9F1-3630-21455B14DF34}"/>
    <pc:docChg chg="addSld delSld modSld modSection">
      <pc:chgData name="Lund, Vibeke (SGRE COG N P M&amp;H)" userId="S::vibeke.westenholz@siemensgamesa.com::be2c167c-cc21-4c23-92b1-78ba209712f0" providerId="AD" clId="Web-{DBD15119-EC65-F9F1-3630-21455B14DF34}" dt="2023-02-03T13:56:57.418" v="262" actId="1076"/>
      <pc:docMkLst>
        <pc:docMk/>
      </pc:docMkLst>
      <pc:sldChg chg="modSp">
        <pc:chgData name="Lund, Vibeke (SGRE COG N P M&amp;H)" userId="S::vibeke.westenholz@siemensgamesa.com::be2c167c-cc21-4c23-92b1-78ba209712f0" providerId="AD" clId="Web-{DBD15119-EC65-F9F1-3630-21455B14DF34}" dt="2023-02-03T12:52:00.499" v="17" actId="20577"/>
        <pc:sldMkLst>
          <pc:docMk/>
          <pc:sldMk cId="1320544008" sldId="286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2:52:00.499" v="17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Lund, Vibeke (SGRE COG N P M&amp;H)" userId="S::vibeke.westenholz@siemensgamesa.com::be2c167c-cc21-4c23-92b1-78ba209712f0" providerId="AD" clId="Web-{DBD15119-EC65-F9F1-3630-21455B14DF34}" dt="2023-02-03T12:51:40.389" v="9" actId="20577"/>
          <ac:spMkLst>
            <pc:docMk/>
            <pc:sldMk cId="1320544008" sldId="286"/>
            <ac:spMk id="14" creationId="{E8F2FCE2-E593-43E0-8170-F2B98D6F1635}"/>
          </ac:spMkLst>
        </pc:spChg>
      </pc:sldChg>
      <pc:sldChg chg="addSp modSp">
        <pc:chgData name="Lund, Vibeke (SGRE COG N P M&amp;H)" userId="S::vibeke.westenholz@siemensgamesa.com::be2c167c-cc21-4c23-92b1-78ba209712f0" providerId="AD" clId="Web-{DBD15119-EC65-F9F1-3630-21455B14DF34}" dt="2023-02-03T13:40:23.016" v="226" actId="20577"/>
        <pc:sldMkLst>
          <pc:docMk/>
          <pc:sldMk cId="3176653745" sldId="296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25:59.523" v="165" actId="688"/>
          <ac:spMkLst>
            <pc:docMk/>
            <pc:sldMk cId="3176653745" sldId="296"/>
            <ac:spMk id="2" creationId="{5D788ADA-8C37-43AB-89C9-1218A42316CA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0:23.016" v="226" actId="20577"/>
          <ac:spMkLst>
            <pc:docMk/>
            <pc:sldMk cId="3176653745" sldId="296"/>
            <ac:spMk id="3" creationId="{A8EED0D6-AAEE-5666-403C-64B74F191C02}"/>
          </ac:spMkLst>
        </pc:spChg>
      </pc:sldChg>
      <pc:sldChg chg="modSp">
        <pc:chgData name="Lund, Vibeke (SGRE COG N P M&amp;H)" userId="S::vibeke.westenholz@siemensgamesa.com::be2c167c-cc21-4c23-92b1-78ba209712f0" providerId="AD" clId="Web-{DBD15119-EC65-F9F1-3630-21455B14DF34}" dt="2023-02-03T13:19:26.059" v="122" actId="20577"/>
        <pc:sldMkLst>
          <pc:docMk/>
          <pc:sldMk cId="284083800" sldId="310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19:26.059" v="122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12.826" v="126"/>
        <pc:sldMkLst>
          <pc:docMk/>
          <pc:sldMk cId="100653347" sldId="315"/>
        </pc:sldMkLst>
      </pc:sldChg>
      <pc:sldChg chg="addSp delSp modSp">
        <pc:chgData name="Lund, Vibeke (SGRE COG N P M&amp;H)" userId="S::vibeke.westenholz@siemensgamesa.com::be2c167c-cc21-4c23-92b1-78ba209712f0" providerId="AD" clId="Web-{DBD15119-EC65-F9F1-3630-21455B14DF34}" dt="2023-02-03T13:56:57.418" v="262" actId="1076"/>
        <pc:sldMkLst>
          <pc:docMk/>
          <pc:sldMk cId="4087205575" sldId="323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06:44.117" v="39" actId="20577"/>
          <ac:spMkLst>
            <pc:docMk/>
            <pc:sldMk cId="4087205575" sldId="323"/>
            <ac:spMk id="2" creationId="{54329A1D-5733-4D01-B538-36178393AF26}"/>
          </ac:spMkLst>
        </pc:spChg>
        <pc:spChg chg="del">
          <ac:chgData name="Lund, Vibeke (SGRE COG N P M&amp;H)" userId="S::vibeke.westenholz@siemensgamesa.com::be2c167c-cc21-4c23-92b1-78ba209712f0" providerId="AD" clId="Web-{DBD15119-EC65-F9F1-3630-21455B14DF34}" dt="2023-02-03T12:58:42.619" v="24"/>
          <ac:spMkLst>
            <pc:docMk/>
            <pc:sldMk cId="4087205575" sldId="323"/>
            <ac:spMk id="10" creationId="{D8401354-1951-4A22-A8A3-B5C1C3B1823D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9:51.016" v="259" actId="1076"/>
          <ac:spMkLst>
            <pc:docMk/>
            <pc:sldMk cId="4087205575" sldId="323"/>
            <ac:spMk id="11" creationId="{40F71BF3-3A08-5DDD-0D6C-409EEC91473B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56:57.418" v="262" actId="1076"/>
          <ac:spMkLst>
            <pc:docMk/>
            <pc:sldMk cId="4087205575" sldId="323"/>
            <ac:spMk id="12" creationId="{E21A6518-EDCA-56FA-49BD-9BD0EDDFE00B}"/>
          </ac:spMkLst>
        </pc:spChg>
        <pc:spChg chg="add mod">
          <ac:chgData name="Lund, Vibeke (SGRE COG N P M&amp;H)" userId="S::vibeke.westenholz@siemensgamesa.com::be2c167c-cc21-4c23-92b1-78ba209712f0" providerId="AD" clId="Web-{DBD15119-EC65-F9F1-3630-21455B14DF34}" dt="2023-02-03T13:49:35.296" v="258" actId="1076"/>
          <ac:spMkLst>
            <pc:docMk/>
            <pc:sldMk cId="4087205575" sldId="323"/>
            <ac:spMk id="13" creationId="{0C0407E2-CC3A-2418-5A3B-859BAE56AB81}"/>
          </ac:spMkLst>
        </pc:spChg>
        <pc:picChg chg="add mod">
          <ac:chgData name="Lund, Vibeke (SGRE COG N P M&amp;H)" userId="S::vibeke.westenholz@siemensgamesa.com::be2c167c-cc21-4c23-92b1-78ba209712f0" providerId="AD" clId="Web-{DBD15119-EC65-F9F1-3630-21455B14DF34}" dt="2023-02-03T13:29:34.654" v="212" actId="1076"/>
          <ac:picMkLst>
            <pc:docMk/>
            <pc:sldMk cId="4087205575" sldId="323"/>
            <ac:picMk id="3" creationId="{0D637734-8094-D116-E69C-3645000E760F}"/>
          </ac:picMkLst>
        </pc:picChg>
        <pc:picChg chg="del">
          <ac:chgData name="Lund, Vibeke (SGRE COG N P M&amp;H)" userId="S::vibeke.westenholz@siemensgamesa.com::be2c167c-cc21-4c23-92b1-78ba209712f0" providerId="AD" clId="Web-{DBD15119-EC65-F9F1-3630-21455B14DF34}" dt="2023-02-03T12:54:13.971" v="19"/>
          <ac:picMkLst>
            <pc:docMk/>
            <pc:sldMk cId="4087205575" sldId="323"/>
            <ac:picMk id="6" creationId="{191E5F50-010B-4C4B-A478-AA0E412665B7}"/>
          </ac:picMkLst>
        </pc:picChg>
        <pc:picChg chg="add mod">
          <ac:chgData name="Lund, Vibeke (SGRE COG N P M&amp;H)" userId="S::vibeke.westenholz@siemensgamesa.com::be2c167c-cc21-4c23-92b1-78ba209712f0" providerId="AD" clId="Web-{DBD15119-EC65-F9F1-3630-21455B14DF34}" dt="2023-02-03T13:56:50.496" v="261" actId="1076"/>
          <ac:picMkLst>
            <pc:docMk/>
            <pc:sldMk cId="4087205575" sldId="323"/>
            <ac:picMk id="8" creationId="{392A034E-9758-826F-FEBC-65AE878BA938}"/>
          </ac:picMkLst>
        </pc:picChg>
        <pc:picChg chg="add mod">
          <ac:chgData name="Lund, Vibeke (SGRE COG N P M&amp;H)" userId="S::vibeke.westenholz@siemensgamesa.com::be2c167c-cc21-4c23-92b1-78ba209712f0" providerId="AD" clId="Web-{DBD15119-EC65-F9F1-3630-21455B14DF34}" dt="2023-02-03T13:30:35.968" v="219" actId="1076"/>
          <ac:picMkLst>
            <pc:docMk/>
            <pc:sldMk cId="4087205575" sldId="323"/>
            <ac:picMk id="9" creationId="{134E7349-9440-0390-AB62-D0F177622A69}"/>
          </ac:picMkLst>
        </pc:picChg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54.501" v="131"/>
        <pc:sldMkLst>
          <pc:docMk/>
          <pc:sldMk cId="1371835148" sldId="329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2:03.111" v="132"/>
        <pc:sldMkLst>
          <pc:docMk/>
          <pc:sldMk cId="3839263946" sldId="33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25.842" v="127"/>
        <pc:sldMkLst>
          <pc:docMk/>
          <pc:sldMk cId="4141118460" sldId="33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33:12.598" v="224"/>
        <pc:sldMkLst>
          <pc:docMk/>
          <pc:sldMk cId="2768869850" sldId="33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1:11.437" v="130"/>
        <pc:sldMkLst>
          <pc:docMk/>
          <pc:sldMk cId="13521793" sldId="33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58.156" v="129"/>
        <pc:sldMkLst>
          <pc:docMk/>
          <pc:sldMk cId="1882169009" sldId="33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3.713" v="106"/>
        <pc:sldMkLst>
          <pc:docMk/>
          <pc:sldMk cId="479969689" sldId="337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08.698" v="107"/>
        <pc:sldMkLst>
          <pc:docMk/>
          <pc:sldMk cId="3084079554" sldId="338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8:30.464" v="108"/>
        <pc:sldMkLst>
          <pc:docMk/>
          <pc:sldMk cId="3983236087" sldId="340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34.153" v="123"/>
        <pc:sldMkLst>
          <pc:docMk/>
          <pc:sldMk cId="2018643726" sldId="341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19:54.576" v="124"/>
        <pc:sldMkLst>
          <pc:docMk/>
          <pc:sldMk cId="1611808819" sldId="342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03.561" v="125"/>
        <pc:sldMkLst>
          <pc:docMk/>
          <pc:sldMk cId="1831290368" sldId="343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2:53:37.486" v="18"/>
        <pc:sldMkLst>
          <pc:docMk/>
          <pc:sldMk cId="2138284291" sldId="344"/>
        </pc:sldMkLst>
      </pc:sldChg>
      <pc:sldChg chg="del">
        <pc:chgData name="Lund, Vibeke (SGRE COG N P M&amp;H)" userId="S::vibeke.westenholz@siemensgamesa.com::be2c167c-cc21-4c23-92b1-78ba209712f0" providerId="AD" clId="Web-{DBD15119-EC65-F9F1-3630-21455B14DF34}" dt="2023-02-03T13:20:42.265" v="128"/>
        <pc:sldMkLst>
          <pc:docMk/>
          <pc:sldMk cId="1384816204" sldId="346"/>
        </pc:sldMkLst>
      </pc:sldChg>
      <pc:sldChg chg="addSp delSp modSp new mod modClrScheme chgLayout">
        <pc:chgData name="Lund, Vibeke (SGRE COG N P M&amp;H)" userId="S::vibeke.westenholz@siemensgamesa.com::be2c167c-cc21-4c23-92b1-78ba209712f0" providerId="AD" clId="Web-{DBD15119-EC65-F9F1-3630-21455B14DF34}" dt="2023-02-03T13:32:20.612" v="223" actId="20577"/>
        <pc:sldMkLst>
          <pc:docMk/>
          <pc:sldMk cId="3870458832" sldId="348"/>
        </pc:sldMkLst>
        <pc:spChg chg="mod">
          <ac:chgData name="Lund, Vibeke (SGRE COG N P M&amp;H)" userId="S::vibeke.westenholz@siemensgamesa.com::be2c167c-cc21-4c23-92b1-78ba209712f0" providerId="AD" clId="Web-{DBD15119-EC65-F9F1-3630-21455B14DF34}" dt="2023-02-03T13:32:20.612" v="223" actId="20577"/>
          <ac:spMkLst>
            <pc:docMk/>
            <pc:sldMk cId="3870458832" sldId="348"/>
            <ac:spMk id="2" creationId="{45A23D01-EEED-3D4D-C4FE-43F41F2A66BA}"/>
          </ac:spMkLst>
        </pc:spChg>
        <pc:spChg chg="del">
          <ac:chgData name="Lund, Vibeke (SGRE COG N P M&amp;H)" userId="S::vibeke.westenholz@siemensgamesa.com::be2c167c-cc21-4c23-92b1-78ba209712f0" providerId="AD" clId="Web-{DBD15119-EC65-F9F1-3630-21455B14DF34}" dt="2023-02-03T13:09:46.137" v="98"/>
          <ac:spMkLst>
            <pc:docMk/>
            <pc:sldMk cId="3870458832" sldId="348"/>
            <ac:spMk id="3" creationId="{227F55F9-8692-3C41-CE0F-9687D9E9082B}"/>
          </ac:spMkLst>
        </pc:spChg>
        <pc:spChg chg="add del">
          <ac:chgData name="Lund, Vibeke (SGRE COG N P M&amp;H)" userId="S::vibeke.westenholz@siemensgamesa.com::be2c167c-cc21-4c23-92b1-78ba209712f0" providerId="AD" clId="Web-{DBD15119-EC65-F9F1-3630-21455B14DF34}" dt="2023-02-03T13:10:49.577" v="103"/>
          <ac:spMkLst>
            <pc:docMk/>
            <pc:sldMk cId="3870458832" sldId="348"/>
            <ac:spMk id="4" creationId="{C5C70913-29E2-CD10-1DEF-DB460744D90A}"/>
          </ac:spMkLst>
        </pc:spChg>
        <pc:spChg chg="mod">
          <ac:chgData name="Lund, Vibeke (SGRE COG N P M&amp;H)" userId="S::vibeke.westenholz@siemensgamesa.com::be2c167c-cc21-4c23-92b1-78ba209712f0" providerId="AD" clId="Web-{DBD15119-EC65-F9F1-3630-21455B14DF34}" dt="2023-02-03T13:10:49.577" v="103"/>
          <ac:spMkLst>
            <pc:docMk/>
            <pc:sldMk cId="3870458832" sldId="348"/>
            <ac:spMk id="5" creationId="{008DD37C-59C7-3B5F-6C68-FF4437102844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04.341" v="100"/>
          <ac:spMkLst>
            <pc:docMk/>
            <pc:sldMk cId="3870458832" sldId="348"/>
            <ac:spMk id="11" creationId="{67AB85EF-9C01-FA37-6072-CE25BDFA909F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04.341" v="100"/>
          <ac:spMkLst>
            <pc:docMk/>
            <pc:sldMk cId="3870458832" sldId="348"/>
            <ac:spMk id="13" creationId="{DBCEF7F3-F741-4163-F215-CEB72685800B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49.561" v="102"/>
          <ac:spMkLst>
            <pc:docMk/>
            <pc:sldMk cId="3870458832" sldId="348"/>
            <ac:spMk id="15" creationId="{005C2D33-5262-BA1D-10B3-AF61B949487B}"/>
          </ac:spMkLst>
        </pc:spChg>
        <pc:spChg chg="add del mod">
          <ac:chgData name="Lund, Vibeke (SGRE COG N P M&amp;H)" userId="S::vibeke.westenholz@siemensgamesa.com::be2c167c-cc21-4c23-92b1-78ba209712f0" providerId="AD" clId="Web-{DBD15119-EC65-F9F1-3630-21455B14DF34}" dt="2023-02-03T13:10:49.561" v="102"/>
          <ac:spMkLst>
            <pc:docMk/>
            <pc:sldMk cId="3870458832" sldId="348"/>
            <ac:spMk id="16" creationId="{568A253B-25F9-1BDC-B1E3-252E81B5140C}"/>
          </ac:spMkLst>
        </pc:spChg>
        <pc:picChg chg="add mod ord">
          <ac:chgData name="Lund, Vibeke (SGRE COG N P M&amp;H)" userId="S::vibeke.westenholz@siemensgamesa.com::be2c167c-cc21-4c23-92b1-78ba209712f0" providerId="AD" clId="Web-{DBD15119-EC65-F9F1-3630-21455B14DF34}" dt="2023-02-03T13:10:49.577" v="103"/>
          <ac:picMkLst>
            <pc:docMk/>
            <pc:sldMk cId="3870458832" sldId="348"/>
            <ac:picMk id="6" creationId="{64D28C2B-E460-E8B7-9677-4FE7A82BFCD1}"/>
          </ac:picMkLst>
        </pc:picChg>
      </pc:sldChg>
    </pc:docChg>
  </pc:docChgLst>
  <pc:docChgLst>
    <pc:chgData name="Wind-Larsen, Taus (SGRE OF TE NAC TD SYC)" userId="909f4c56-f0bd-48e2-b5e6-c85fd07560b7" providerId="ADAL" clId="{1E5C054E-E3B6-424B-AA8A-AA7446ADABE8}"/>
    <pc:docChg chg="undo custSel addSld delSld modSld">
      <pc:chgData name="Wind-Larsen, Taus (SGRE OF TE NAC TD SYC)" userId="909f4c56-f0bd-48e2-b5e6-c85fd07560b7" providerId="ADAL" clId="{1E5C054E-E3B6-424B-AA8A-AA7446ADABE8}" dt="2022-02-23T17:57:18.331" v="325" actId="114"/>
      <pc:docMkLst>
        <pc:docMk/>
      </pc:docMkLst>
      <pc:sldChg chg="modSp">
        <pc:chgData name="Wind-Larsen, Taus (SGRE OF TE NAC TD SYC)" userId="909f4c56-f0bd-48e2-b5e6-c85fd07560b7" providerId="ADAL" clId="{1E5C054E-E3B6-424B-AA8A-AA7446ADABE8}" dt="2022-02-21T19:12:35.383" v="60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1E5C054E-E3B6-424B-AA8A-AA7446ADABE8}" dt="2022-02-21T19:12:05.626" v="17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1E5C054E-E3B6-424B-AA8A-AA7446ADABE8}" dt="2022-02-21T19:12:35.383" v="60" actId="20577"/>
          <ac:spMkLst>
            <pc:docMk/>
            <pc:sldMk cId="1320544008" sldId="286"/>
            <ac:spMk id="12" creationId="{0EA2A266-7FBE-4332-A700-61D78AD65338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57:18.331" v="325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1E5C054E-E3B6-424B-AA8A-AA7446ADABE8}" dt="2022-02-23T17:57:18.331" v="325" actId="114"/>
          <ac:spMkLst>
            <pc:docMk/>
            <pc:sldMk cId="1840042121" sldId="293"/>
            <ac:spMk id="10" creationId="{BD5C9BD0-DEBA-441F-9811-E50C4D0B74CF}"/>
          </ac:spMkLst>
        </pc:spChg>
      </pc:sldChg>
      <pc:sldChg chg="modSp add mod">
        <pc:chgData name="Wind-Larsen, Taus (SGRE OF TE NAC TD SYC)" userId="909f4c56-f0bd-48e2-b5e6-c85fd07560b7" providerId="ADAL" clId="{1E5C054E-E3B6-424B-AA8A-AA7446ADABE8}" dt="2022-02-23T15:18:39.995" v="238" actId="20577"/>
        <pc:sldMkLst>
          <pc:docMk/>
          <pc:sldMk cId="1468755633" sldId="299"/>
        </pc:sldMkLst>
        <pc:spChg chg="mod">
          <ac:chgData name="Wind-Larsen, Taus (SGRE OF TE NAC TD SYC)" userId="909f4c56-f0bd-48e2-b5e6-c85fd07560b7" providerId="ADAL" clId="{1E5C054E-E3B6-424B-AA8A-AA7446ADABE8}" dt="2022-02-23T15:17:06.602" v="183" actId="20577"/>
          <ac:spMkLst>
            <pc:docMk/>
            <pc:sldMk cId="1468755633" sldId="299"/>
            <ac:spMk id="4" creationId="{3F2A2BFC-49FE-4E81-A31B-E79625429A58}"/>
          </ac:spMkLst>
        </pc:spChg>
        <pc:spChg chg="mod">
          <ac:chgData name="Wind-Larsen, Taus (SGRE OF TE NAC TD SYC)" userId="909f4c56-f0bd-48e2-b5e6-c85fd07560b7" providerId="ADAL" clId="{1E5C054E-E3B6-424B-AA8A-AA7446ADABE8}" dt="2022-02-23T15:18:39.995" v="238" actId="20577"/>
          <ac:spMkLst>
            <pc:docMk/>
            <pc:sldMk cId="1468755633" sldId="299"/>
            <ac:spMk id="9" creationId="{14CE2AEB-7EE8-473F-8D24-FDFEC13E6DB1}"/>
          </ac:spMkLst>
        </pc:spChg>
      </pc:sldChg>
      <pc:sldChg chg="modSp mod">
        <pc:chgData name="Wind-Larsen, Taus (SGRE OF TE NAC TD SYC)" userId="909f4c56-f0bd-48e2-b5e6-c85fd07560b7" providerId="ADAL" clId="{1E5C054E-E3B6-424B-AA8A-AA7446ADABE8}" dt="2022-02-23T17:39:44.882" v="260" actId="20577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1E5C054E-E3B6-424B-AA8A-AA7446ADABE8}" dt="2022-02-23T17:39:44.882" v="260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add del mod setBg delDesignElem">
        <pc:chgData name="Wind-Larsen, Taus (SGRE OF TE NAC TD SYC)" userId="909f4c56-f0bd-48e2-b5e6-c85fd07560b7" providerId="ADAL" clId="{1E5C054E-E3B6-424B-AA8A-AA7446ADABE8}" dt="2022-02-21T21:56:35.839" v="180"/>
        <pc:sldMkLst>
          <pc:docMk/>
          <pc:sldMk cId="1384816204" sldId="346"/>
        </pc:sldMkLst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2" creationId="{512B93D3-EE9A-4219-8740-735537A90D00}"/>
          </ac:spMkLst>
        </pc:spChg>
        <pc:spChg chg="mod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3" creationId="{CB076D09-E250-47CF-ACB0-3817DBD4F843}"/>
          </ac:spMkLst>
        </pc:spChg>
        <pc:spChg chg="add del mod modVis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" creationId="{FD42331D-42C7-469F-9387-EC61B28BB0FC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0" creationId="{5A0118C5-4F8D-4CF4-BADD-53FEACC6C42A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1" creationId="{3F785A8F-002E-4E7C-A4EE-0423F24488BB}"/>
          </ac:spMkLst>
        </pc:spChg>
        <pc:spChg chg="add del">
          <ac:chgData name="Wind-Larsen, Taus (SGRE OF TE NAC TD SYC)" userId="909f4c56-f0bd-48e2-b5e6-c85fd07560b7" providerId="ADAL" clId="{1E5C054E-E3B6-424B-AA8A-AA7446ADABE8}" dt="2022-02-21T21:56:35.839" v="180"/>
          <ac:spMkLst>
            <pc:docMk/>
            <pc:sldMk cId="1384816204" sldId="346"/>
            <ac:spMk id="43" creationId="{5552F9A4-B078-4FA2-A29A-E70F604511FF}"/>
          </ac:spMkLst>
        </pc:s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37" creationId="{7F54B1E7-DA9D-4422-98EA-A4C079A0C4AB}"/>
          </ac:grpSpMkLst>
        </pc:grpChg>
        <pc:grpChg chg="add del">
          <ac:chgData name="Wind-Larsen, Taus (SGRE OF TE NAC TD SYC)" userId="909f4c56-f0bd-48e2-b5e6-c85fd07560b7" providerId="ADAL" clId="{1E5C054E-E3B6-424B-AA8A-AA7446ADABE8}" dt="2022-02-21T21:56:35.839" v="180"/>
          <ac:grpSpMkLst>
            <pc:docMk/>
            <pc:sldMk cId="1384816204" sldId="346"/>
            <ac:grpSpMk id="45" creationId="{E7EEFC47-5A1A-4BC0-9CCE-8E2F1C883779}"/>
          </ac:grpSpMkLst>
        </pc:grpChg>
        <pc:graphicFrameChg chg="add del mod ord modVis">
          <ac:chgData name="Wind-Larsen, Taus (SGRE OF TE NAC TD SYC)" userId="909f4c56-f0bd-48e2-b5e6-c85fd07560b7" providerId="ADAL" clId="{1E5C054E-E3B6-424B-AA8A-AA7446ADABE8}" dt="2022-02-21T21:56:35.839" v="180"/>
          <ac:graphicFrameMkLst>
            <pc:docMk/>
            <pc:sldMk cId="1384816204" sldId="346"/>
            <ac:graphicFrameMk id="5" creationId="{F8CCAFF5-DC29-43FD-8945-4F6DF22C499F}"/>
          </ac:graphicFrameMkLst>
        </pc:graphicFrameChg>
      </pc:sldChg>
    </pc:docChg>
  </pc:docChgLst>
  <pc:docChgLst>
    <pc:chgData name="Lund, Vibeke (SGRE COG N P M&amp;H)" userId="S::vibeke.westenholz@siemensgamesa.com::be2c167c-cc21-4c23-92b1-78ba209712f0" providerId="AD" clId="Web-{A690CCD6-FD13-994A-AC13-97DB7C625E9A}"/>
    <pc:docChg chg="delSld modSld modSection">
      <pc:chgData name="Lund, Vibeke (SGRE COG N P M&amp;H)" userId="S::vibeke.westenholz@siemensgamesa.com::be2c167c-cc21-4c23-92b1-78ba209712f0" providerId="AD" clId="Web-{A690CCD6-FD13-994A-AC13-97DB7C625E9A}" dt="2023-02-03T16:44:29.891" v="70" actId="20577"/>
      <pc:docMkLst>
        <pc:docMk/>
      </pc:docMkLst>
      <pc:sldChg chg="addSp modSp del">
        <pc:chgData name="Lund, Vibeke (SGRE COG N P M&amp;H)" userId="S::vibeke.westenholz@siemensgamesa.com::be2c167c-cc21-4c23-92b1-78ba209712f0" providerId="AD" clId="Web-{A690CCD6-FD13-994A-AC13-97DB7C625E9A}" dt="2023-02-03T16:40:00.740" v="55"/>
        <pc:sldMkLst>
          <pc:docMk/>
          <pc:sldMk cId="558325371" sldId="322"/>
        </pc:sldMkLst>
        <pc:spChg chg="mod">
          <ac:chgData name="Lund, Vibeke (SGRE COG N P M&amp;H)" userId="S::vibeke.westenholz@siemensgamesa.com::be2c167c-cc21-4c23-92b1-78ba209712f0" providerId="AD" clId="Web-{A690CCD6-FD13-994A-AC13-97DB7C625E9A}" dt="2023-02-03T15:40:39.204" v="14" actId="20577"/>
          <ac:spMkLst>
            <pc:docMk/>
            <pc:sldMk cId="558325371" sldId="322"/>
            <ac:spMk id="2" creationId="{54329A1D-5733-4D01-B538-36178393AF26}"/>
          </ac:spMkLst>
        </pc:spChg>
        <pc:spChg chg="add mod">
          <ac:chgData name="Lund, Vibeke (SGRE COG N P M&amp;H)" userId="S::vibeke.westenholz@siemensgamesa.com::be2c167c-cc21-4c23-92b1-78ba209712f0" providerId="AD" clId="Web-{A690CCD6-FD13-994A-AC13-97DB7C625E9A}" dt="2023-02-03T15:54:02.047" v="54" actId="1076"/>
          <ac:spMkLst>
            <pc:docMk/>
            <pc:sldMk cId="558325371" sldId="322"/>
            <ac:spMk id="6" creationId="{DA4AD865-072C-9AD7-DC28-CBBAC64B8983}"/>
          </ac:spMkLst>
        </pc:spChg>
        <pc:picChg chg="add mod">
          <ac:chgData name="Lund, Vibeke (SGRE COG N P M&amp;H)" userId="S::vibeke.westenholz@siemensgamesa.com::be2c167c-cc21-4c23-92b1-78ba209712f0" providerId="AD" clId="Web-{A690CCD6-FD13-994A-AC13-97DB7C625E9A}" dt="2023-02-03T15:53:47.905" v="53" actId="1076"/>
          <ac:picMkLst>
            <pc:docMk/>
            <pc:sldMk cId="558325371" sldId="322"/>
            <ac:picMk id="3" creationId="{078CAAFC-AE3F-529C-49EA-152A62AB3423}"/>
          </ac:picMkLst>
        </pc:picChg>
      </pc:sldChg>
      <pc:sldChg chg="modSp">
        <pc:chgData name="Lund, Vibeke (SGRE COG N P M&amp;H)" userId="S::vibeke.westenholz@siemensgamesa.com::be2c167c-cc21-4c23-92b1-78ba209712f0" providerId="AD" clId="Web-{A690CCD6-FD13-994A-AC13-97DB7C625E9A}" dt="2023-02-03T16:44:29.891" v="70" actId="20577"/>
        <pc:sldMkLst>
          <pc:docMk/>
          <pc:sldMk cId="3870458832" sldId="348"/>
        </pc:sldMkLst>
        <pc:spChg chg="mod">
          <ac:chgData name="Lund, Vibeke (SGRE COG N P M&amp;H)" userId="S::vibeke.westenholz@siemensgamesa.com::be2c167c-cc21-4c23-92b1-78ba209712f0" providerId="AD" clId="Web-{A690CCD6-FD13-994A-AC13-97DB7C625E9A}" dt="2023-02-03T16:44:29.891" v="70" actId="20577"/>
          <ac:spMkLst>
            <pc:docMk/>
            <pc:sldMk cId="3870458832" sldId="348"/>
            <ac:spMk id="2" creationId="{45A23D01-EEED-3D4D-C4FE-43F41F2A66BA}"/>
          </ac:spMkLst>
        </pc:spChg>
      </pc:sldChg>
    </pc:docChg>
  </pc:docChgLst>
  <pc:docChgLst>
    <pc:chgData name="Wind-Larsen, Taus (SGRE OF TE NAC TD SYC)" userId="909f4c56-f0bd-48e2-b5e6-c85fd07560b7" providerId="ADAL" clId="{CAC997D2-2045-4FBD-88AA-2930340D2AF4}"/>
    <pc:docChg chg="undo redo custSel addSld delSld modSld sldOrd delMainMaster modMainMaster modSection">
      <pc:chgData name="Wind-Larsen, Taus (SGRE OF TE NAC TD SYC)" userId="909f4c56-f0bd-48e2-b5e6-c85fd07560b7" providerId="ADAL" clId="{CAC997D2-2045-4FBD-88AA-2930340D2AF4}" dt="2022-02-11T15:06:01.195" v="36839" actId="113"/>
      <pc:docMkLst>
        <pc:docMk/>
      </pc:docMkLst>
      <pc:sldChg chg="addSp delSp modSp add del mod">
        <pc:chgData name="Wind-Larsen, Taus (SGRE OF TE NAC TD SYC)" userId="909f4c56-f0bd-48e2-b5e6-c85fd07560b7" providerId="ADAL" clId="{CAC997D2-2045-4FBD-88AA-2930340D2AF4}" dt="2022-02-11T13:47:41.433" v="35008"/>
        <pc:sldMkLst>
          <pc:docMk/>
          <pc:sldMk cId="2028741205" sldId="256"/>
        </pc:sldMkLst>
        <pc:spChg chg="add del mod modVis">
          <ac:chgData name="Wind-Larsen, Taus (SGRE OF TE NAC TD SYC)" userId="909f4c56-f0bd-48e2-b5e6-c85fd07560b7" providerId="ADAL" clId="{CAC997D2-2045-4FBD-88AA-2930340D2AF4}" dt="2022-02-11T13:47:40.398" v="34950"/>
          <ac:spMkLst>
            <pc:docMk/>
            <pc:sldMk cId="2028741205" sldId="256"/>
            <ac:spMk id="2" creationId="{679DC7BE-F798-45D7-BA1F-0F29ED10F075}"/>
          </ac:spMkLst>
        </pc:spChg>
        <pc:spChg chg="mod">
          <ac:chgData name="Wind-Larsen, Taus (SGRE OF TE NAC TD SYC)" userId="909f4c56-f0bd-48e2-b5e6-c85fd07560b7" providerId="ADAL" clId="{CAC997D2-2045-4FBD-88AA-2930340D2AF4}" dt="2022-02-11T13:47:41.349" v="34967" actId="948"/>
          <ac:spMkLst>
            <pc:docMk/>
            <pc:sldMk cId="2028741205" sldId="256"/>
            <ac:spMk id="4" creationId="{E87FD221-A9E2-4D0B-BD27-3C78FCF356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1.430" v="35006"/>
          <ac:spMkLst>
            <pc:docMk/>
            <pc:sldMk cId="2028741205" sldId="256"/>
            <ac:spMk id="5" creationId="{12FAA47E-EF20-446E-8EBE-705D11AB1948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7:41.433" v="35008"/>
          <ac:graphicFrameMkLst>
            <pc:docMk/>
            <pc:sldMk cId="2028741205" sldId="256"/>
            <ac:graphicFrameMk id="3" creationId="{A5993D8B-2CF1-4A92-9E41-B12516C24774}"/>
          </ac:graphicFrameMkLst>
        </pc:graphicFrameChg>
      </pc:sldChg>
      <pc:sldChg chg="addSp delSp modSp add del mod">
        <pc:chgData name="Wind-Larsen, Taus (SGRE OF TE NAC TD SYC)" userId="909f4c56-f0bd-48e2-b5e6-c85fd07560b7" providerId="ADAL" clId="{CAC997D2-2045-4FBD-88AA-2930340D2AF4}" dt="2022-02-11T13:48:47.061" v="35927"/>
        <pc:sldMkLst>
          <pc:docMk/>
          <pc:sldMk cId="1109116256" sldId="257"/>
        </pc:sldMkLst>
        <pc:spChg chg="add del mod modVis">
          <ac:chgData name="Wind-Larsen, Taus (SGRE OF TE NAC TD SYC)" userId="909f4c56-f0bd-48e2-b5e6-c85fd07560b7" providerId="ADAL" clId="{CAC997D2-2045-4FBD-88AA-2930340D2AF4}" dt="2022-02-11T13:47:48.685" v="35081"/>
          <ac:spMkLst>
            <pc:docMk/>
            <pc:sldMk cId="1109116256" sldId="257"/>
            <ac:spMk id="2" creationId="{65D089B5-1618-459E-A3C7-5855B0D582E7}"/>
          </ac:spMkLst>
        </pc:spChg>
        <pc:spChg chg="mod">
          <ac:chgData name="Wind-Larsen, Taus (SGRE OF TE NAC TD SYC)" userId="909f4c56-f0bd-48e2-b5e6-c85fd07560b7" providerId="ADAL" clId="{CAC997D2-2045-4FBD-88AA-2930340D2AF4}" dt="2022-02-11T13:48:46.846" v="35841" actId="948"/>
          <ac:spMkLst>
            <pc:docMk/>
            <pc:sldMk cId="1109116256" sldId="257"/>
            <ac:spMk id="4" creationId="{A70F15DE-AA3E-4D6B-9342-CB30FBAE817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49.764" v="35169"/>
          <ac:spMkLst>
            <pc:docMk/>
            <pc:sldMk cId="1109116256" sldId="257"/>
            <ac:spMk id="5" creationId="{901EE3FE-4C50-4D5D-B720-076DAC2775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4.474" v="35244"/>
          <ac:spMkLst>
            <pc:docMk/>
            <pc:sldMk cId="1109116256" sldId="257"/>
            <ac:spMk id="6" creationId="{BF159952-07D2-4D00-B617-1D63101F45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7:55.319" v="35319"/>
          <ac:spMkLst>
            <pc:docMk/>
            <pc:sldMk cId="1109116256" sldId="257"/>
            <ac:spMk id="7" creationId="{B585027F-0EEA-4E4B-A2E5-E545016C45E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5.050" v="35394"/>
          <ac:spMkLst>
            <pc:docMk/>
            <pc:sldMk cId="1109116256" sldId="257"/>
            <ac:spMk id="8" creationId="{8012F10F-A9FF-40AA-86A6-538E0BB60A9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6.426" v="35484"/>
          <ac:spMkLst>
            <pc:docMk/>
            <pc:sldMk cId="1109116256" sldId="257"/>
            <ac:spMk id="9" creationId="{A8E75D7E-18BC-4C92-9138-DE522FC103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19.987" v="35572"/>
          <ac:spMkLst>
            <pc:docMk/>
            <pc:sldMk cId="1109116256" sldId="257"/>
            <ac:spMk id="10" creationId="{D01CBEEE-464A-4954-B2B0-C44A4F7E9B3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129" v="35660"/>
          <ac:spMkLst>
            <pc:docMk/>
            <pc:sldMk cId="1109116256" sldId="257"/>
            <ac:spMk id="11" creationId="{4E824029-1740-4A0C-B9D0-EB54E68542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24.907" v="35748"/>
          <ac:spMkLst>
            <pc:docMk/>
            <pc:sldMk cId="1109116256" sldId="257"/>
            <ac:spMk id="12" creationId="{C68B4954-D155-4971-BFB4-A49B0836585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32.027" v="35837"/>
          <ac:spMkLst>
            <pc:docMk/>
            <pc:sldMk cId="1109116256" sldId="257"/>
            <ac:spMk id="13" creationId="{7694B60F-5C2D-4F9A-B0EB-7B7E150C549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48:47.060" v="35925"/>
          <ac:spMkLst>
            <pc:docMk/>
            <pc:sldMk cId="1109116256" sldId="257"/>
            <ac:spMk id="14" creationId="{B7C706E0-FE0D-485E-9739-FC9716AA69CD}"/>
          </ac:spMkLst>
        </pc:spChg>
        <pc:graphicFrameChg chg="add mod ord modVis">
          <ac:chgData name="Wind-Larsen, Taus (SGRE OF TE NAC TD SYC)" userId="909f4c56-f0bd-48e2-b5e6-c85fd07560b7" providerId="ADAL" clId="{CAC997D2-2045-4FBD-88AA-2930340D2AF4}" dt="2022-02-11T13:48:47.061" v="35927"/>
          <ac:graphicFrameMkLst>
            <pc:docMk/>
            <pc:sldMk cId="1109116256" sldId="257"/>
            <ac:graphicFrameMk id="3" creationId="{E51041FD-AE6C-4A2B-966F-8122E35DACDB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22:27.241" v="108" actId="47"/>
        <pc:sldMkLst>
          <pc:docMk/>
          <pc:sldMk cId="601587642" sldId="258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69205521" sldId="260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7" creationId="{4609862E-48F9-45AC-8D44-67A0268A793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69205521" sldId="260"/>
            <ac:spMk id="19" creationId="{2D5EEA8B-2D86-4D1D-96B3-6B8290303786}"/>
          </ac:spMkLst>
        </pc:s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7" creationId="{FEB90296-CFE0-401D-9CA3-32966EC4F01D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9" creationId="{08C9B4EE-7611-4ED9-B356-7BDD377C39B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1" creationId="{4A4F266A-F2F7-47CD-8BBC-E3777E982FD2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3" creationId="{20D69C80-8919-4A32-B897-F2A21F940574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469205521" sldId="260"/>
            <ac:cxnSpMk id="15" creationId="{F427B072-CC5B-481B-9719-8CD4C54444BE}"/>
          </ac:cxnSpMkLst>
        </pc:cxnChg>
      </pc:sldChg>
      <pc:sldChg chg="add del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526056995" sldId="261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3674548677" sldId="263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5" creationId="{D067A139-86EB-480F-AE6B-AF8092F215E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3674548677" sldId="263"/>
            <ac:spMk id="97" creationId="{4E252378-AA68-427C-BF69-E4434E447DB5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3674548677" sldId="263"/>
            <ac:grpSpMk id="99" creationId="{65E8C853-59EA-4FCB-BB4E-1B0AEEA408EB}"/>
          </ac:grpSpMkLst>
        </pc:grp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5" creationId="{8FD48FB1-66D8-4676-B0AA-C139A1DB78D1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7" creationId="{F033F5AE-6728-4F19-8DED-658E674B31B9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89" creationId="{82C7D74A-18BA-4709-A808-44E8815C4430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1" creationId="{B5164A3F-1561-4039-8185-AB0EEB713EA7}"/>
          </ac:cxnSpMkLst>
        </pc:cxnChg>
        <pc:cxnChg chg="add del">
          <ac:chgData name="Wind-Larsen, Taus (SGRE OF TE NAC TD SYC)" userId="909f4c56-f0bd-48e2-b5e6-c85fd07560b7" providerId="ADAL" clId="{CAC997D2-2045-4FBD-88AA-2930340D2AF4}" dt="2022-02-11T13:47:25.357" v="34909"/>
          <ac:cxnSpMkLst>
            <pc:docMk/>
            <pc:sldMk cId="3674548677" sldId="263"/>
            <ac:cxnSpMk id="93" creationId="{2A35DB53-42BE-460E-9CA1-1294C98463CB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3:24:09.887" v="33960" actId="20577"/>
        <pc:sldMkLst>
          <pc:docMk/>
          <pc:sldMk cId="1618370001" sldId="271"/>
        </pc:sldMkLst>
        <pc:spChg chg="mod">
          <ac:chgData name="Wind-Larsen, Taus (SGRE OF TE NAC TD SYC)" userId="909f4c56-f0bd-48e2-b5e6-c85fd07560b7" providerId="ADAL" clId="{CAC997D2-2045-4FBD-88AA-2930340D2AF4}" dt="2022-02-11T13:23:57.220" v="33896" actId="948"/>
          <ac:spMkLst>
            <pc:docMk/>
            <pc:sldMk cId="1618370001" sldId="271"/>
            <ac:spMk id="2" creationId="{00000000-0000-0000-0000-000000000000}"/>
          </ac:spMkLst>
        </pc:spChg>
        <pc:spChg chg="mod">
          <ac:chgData name="Wind-Larsen, Taus (SGRE OF TE NAC TD SYC)" userId="909f4c56-f0bd-48e2-b5e6-c85fd07560b7" providerId="ADAL" clId="{CAC997D2-2045-4FBD-88AA-2930340D2AF4}" dt="2022-02-11T13:24:09.887" v="33960" actId="20577"/>
          <ac:spMkLst>
            <pc:docMk/>
            <pc:sldMk cId="1618370001" sldId="271"/>
            <ac:spMk id="3" creationId="{00000000-0000-0000-0000-0000000000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3:57.525" v="33935"/>
          <ac:spMkLst>
            <pc:docMk/>
            <pc:sldMk cId="1618370001" sldId="271"/>
            <ac:spMk id="6" creationId="{9E8808AA-3405-4438-86C3-08D716209DBB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3:57.544" v="33937"/>
          <ac:graphicFrameMkLst>
            <pc:docMk/>
            <pc:sldMk cId="1618370001" sldId="271"/>
            <ac:graphicFrameMk id="4" creationId="{5BA0C46B-8E1E-4531-984C-2FDE96CE78D9}"/>
          </ac:graphicFrameMkLst>
        </pc:graphicFrameChg>
      </pc:sldChg>
      <pc:sldChg chg="modSp mod">
        <pc:chgData name="Wind-Larsen, Taus (SGRE OF TE NAC TD SYC)" userId="909f4c56-f0bd-48e2-b5e6-c85fd07560b7" providerId="ADAL" clId="{CAC997D2-2045-4FBD-88AA-2930340D2AF4}" dt="2022-02-11T09:59:53.268" v="1118" actId="20577"/>
        <pc:sldMkLst>
          <pc:docMk/>
          <pc:sldMk cId="3563952106" sldId="284"/>
        </pc:sldMkLst>
        <pc:spChg chg="mod">
          <ac:chgData name="Wind-Larsen, Taus (SGRE OF TE NAC TD SYC)" userId="909f4c56-f0bd-48e2-b5e6-c85fd07560b7" providerId="ADAL" clId="{CAC997D2-2045-4FBD-88AA-2930340D2AF4}" dt="2022-02-11T08:22:40.916" v="111" actId="20577"/>
          <ac:spMkLst>
            <pc:docMk/>
            <pc:sldMk cId="3563952106" sldId="284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9:59:53.268" v="1118" actId="20577"/>
          <ac:spMkLst>
            <pc:docMk/>
            <pc:sldMk cId="3563952106" sldId="284"/>
            <ac:spMk id="6" creationId="{ECCB7D8A-828C-4A5A-87D9-D3FD263901E9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2:29.913" v="109" actId="47"/>
        <pc:sldMkLst>
          <pc:docMk/>
          <pc:sldMk cId="3290329980" sldId="285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09:26:47.998" v="934" actId="20577"/>
        <pc:sldMkLst>
          <pc:docMk/>
          <pc:sldMk cId="1320544008" sldId="286"/>
        </pc:sldMkLst>
        <pc:spChg chg="mod">
          <ac:chgData name="Wind-Larsen, Taus (SGRE OF TE NAC TD SYC)" userId="909f4c56-f0bd-48e2-b5e6-c85fd07560b7" providerId="ADAL" clId="{CAC997D2-2045-4FBD-88AA-2930340D2AF4}" dt="2022-02-11T09:26:45.836" v="891" actId="948"/>
          <ac:spMkLst>
            <pc:docMk/>
            <pc:sldMk cId="1320544008" sldId="286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6.524" v="695"/>
          <ac:spMkLst>
            <pc:docMk/>
            <pc:sldMk cId="1320544008" sldId="286"/>
            <ac:spMk id="3" creationId="{7A2A5A11-C840-45A4-9E53-F1CA5819A8DF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22.421" v="130" actId="20577"/>
          <ac:spMkLst>
            <pc:docMk/>
            <pc:sldMk cId="1320544008" sldId="286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39.857" v="738"/>
          <ac:spMkLst>
            <pc:docMk/>
            <pc:sldMk cId="1320544008" sldId="286"/>
            <ac:spMk id="8" creationId="{296750C7-CD66-4314-8D3A-7B3CF4A353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0.924" v="783"/>
          <ac:spMkLst>
            <pc:docMk/>
            <pc:sldMk cId="1320544008" sldId="286"/>
            <ac:spMk id="9" creationId="{FD74519D-6669-4F7E-AEAC-A6F3EDA580C9}"/>
          </ac:spMkLst>
        </pc:spChg>
        <pc:spChg chg="mod">
          <ac:chgData name="Wind-Larsen, Taus (SGRE OF TE NAC TD SYC)" userId="909f4c56-f0bd-48e2-b5e6-c85fd07560b7" providerId="ADAL" clId="{CAC997D2-2045-4FBD-88AA-2930340D2AF4}" dt="2022-02-11T08:23:34.277" v="144" actId="20577"/>
          <ac:spMkLst>
            <pc:docMk/>
            <pc:sldMk cId="1320544008" sldId="286"/>
            <ac:spMk id="11" creationId="{CFF7D2C3-2556-4BBF-8804-C88B92AEAF36}"/>
          </ac:spMkLst>
        </pc:spChg>
        <pc:spChg chg="mod">
          <ac:chgData name="Wind-Larsen, Taus (SGRE OF TE NAC TD SYC)" userId="909f4c56-f0bd-48e2-b5e6-c85fd07560b7" providerId="ADAL" clId="{CAC997D2-2045-4FBD-88AA-2930340D2AF4}" dt="2022-02-11T09:26:47.998" v="934" actId="20577"/>
          <ac:spMkLst>
            <pc:docMk/>
            <pc:sldMk cId="1320544008" sldId="286"/>
            <ac:spMk id="13" creationId="{AE67A3A1-67B6-4F7F-BF7F-9052DBA82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3.884" v="839"/>
          <ac:spMkLst>
            <pc:docMk/>
            <pc:sldMk cId="1320544008" sldId="286"/>
            <ac:spMk id="14" creationId="{94BF3623-F699-476A-A644-6A586EED012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4.937" v="884"/>
          <ac:spMkLst>
            <pc:docMk/>
            <pc:sldMk cId="1320544008" sldId="286"/>
            <ac:spMk id="16" creationId="{F185D966-CE25-4EBC-A37B-3B556F1DA1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9:26:45.887" v="930"/>
          <ac:spMkLst>
            <pc:docMk/>
            <pc:sldMk cId="1320544008" sldId="286"/>
            <ac:spMk id="17" creationId="{74B626FB-41CA-4594-A1C5-D24A95901701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9:26:45.895" v="932"/>
          <ac:graphicFrameMkLst>
            <pc:docMk/>
            <pc:sldMk cId="1320544008" sldId="286"/>
            <ac:graphicFrameMk id="7" creationId="{0CA3E6B4-5D0A-4682-8E37-8BE527F4F6A4}"/>
          </ac:graphicFrameMkLst>
        </pc:graphicFrameChg>
      </pc:sldChg>
      <pc:sldChg chg="addSp delSp modSp del mod">
        <pc:chgData name="Wind-Larsen, Taus (SGRE OF TE NAC TD SYC)" userId="909f4c56-f0bd-48e2-b5e6-c85fd07560b7" providerId="ADAL" clId="{CAC997D2-2045-4FBD-88AA-2930340D2AF4}" dt="2022-02-11T10:03:16.733" v="1809" actId="2696"/>
        <pc:sldMkLst>
          <pc:docMk/>
          <pc:sldMk cId="931352492" sldId="289"/>
        </pc:sldMkLst>
        <pc:spChg chg="mod">
          <ac:chgData name="Wind-Larsen, Taus (SGRE OF TE NAC TD SYC)" userId="909f4c56-f0bd-48e2-b5e6-c85fd07560b7" providerId="ADAL" clId="{CAC997D2-2045-4FBD-88AA-2930340D2AF4}" dt="2022-02-11T10:02:42.228" v="1366" actId="948"/>
          <ac:spMkLst>
            <pc:docMk/>
            <pc:sldMk cId="931352492" sldId="289"/>
            <ac:spMk id="2" creationId="{5D788ADA-8C37-43AB-89C9-1218A42316CA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24.549" v="1364" actId="20577"/>
          <ac:spMkLst>
            <pc:docMk/>
            <pc:sldMk cId="931352492" sldId="289"/>
            <ac:spMk id="3" creationId="{8E0AAC11-3202-46A9-8EB4-8DF0337F24B7}"/>
          </ac:spMkLst>
        </pc:spChg>
        <pc:spChg chg="mod">
          <ac:chgData name="Wind-Larsen, Taus (SGRE OF TE NAC TD SYC)" userId="909f4c56-f0bd-48e2-b5e6-c85fd07560b7" providerId="ADAL" clId="{CAC997D2-2045-4FBD-88AA-2930340D2AF4}" dt="2022-02-11T10:02:12.212" v="1361" actId="20577"/>
          <ac:spMkLst>
            <pc:docMk/>
            <pc:sldMk cId="931352492" sldId="289"/>
            <ac:spMk id="4" creationId="{7B1880A8-F560-4971-93F0-7C14A34CF76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3:22.159" v="388"/>
          <ac:spMkLst>
            <pc:docMk/>
            <pc:sldMk cId="931352492" sldId="289"/>
            <ac:spMk id="11" creationId="{6FA998D0-C9BB-48D4-AC16-7FA48760E2F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2:42.678" v="1804"/>
          <ac:graphicFrameMkLst>
            <pc:docMk/>
            <pc:sldMk cId="931352492" sldId="289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4:31.796" v="398" actId="47"/>
        <pc:sldMkLst>
          <pc:docMk/>
          <pc:sldMk cId="42064838" sldId="290"/>
        </pc:sldMkLst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596892949" sldId="292"/>
        </pc:sldMkLst>
      </pc:sldChg>
      <pc:sldChg chg="modSp add mod">
        <pc:chgData name="Wind-Larsen, Taus (SGRE OF TE NAC TD SYC)" userId="909f4c56-f0bd-48e2-b5e6-c85fd07560b7" providerId="ADAL" clId="{CAC997D2-2045-4FBD-88AA-2930340D2AF4}" dt="2022-02-11T13:19:33.421" v="33881" actId="1036"/>
        <pc:sldMkLst>
          <pc:docMk/>
          <pc:sldMk cId="1286349833" sldId="292"/>
        </pc:sldMkLst>
        <pc:spChg chg="mod">
          <ac:chgData name="Wind-Larsen, Taus (SGRE OF TE NAC TD SYC)" userId="909f4c56-f0bd-48e2-b5e6-c85fd07560b7" providerId="ADAL" clId="{CAC997D2-2045-4FBD-88AA-2930340D2AF4}" dt="2022-02-11T13:01:37.334" v="33347" actId="20577"/>
          <ac:spMkLst>
            <pc:docMk/>
            <pc:sldMk cId="1286349833" sldId="292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19:33.421" v="33881" actId="1036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Wind-Larsen, Taus (SGRE OF TE NAC TD SYC)" userId="909f4c56-f0bd-48e2-b5e6-c85fd07560b7" providerId="ADAL" clId="{CAC997D2-2045-4FBD-88AA-2930340D2AF4}" dt="2022-02-11T12:58:57.313" v="33312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addSp delSp modSp mod ord modAnim">
        <pc:chgData name="Wind-Larsen, Taus (SGRE OF TE NAC TD SYC)" userId="909f4c56-f0bd-48e2-b5e6-c85fd07560b7" providerId="ADAL" clId="{CAC997D2-2045-4FBD-88AA-2930340D2AF4}" dt="2022-02-11T14:58:21.916" v="36686" actId="114"/>
        <pc:sldMkLst>
          <pc:docMk/>
          <pc:sldMk cId="1840042121" sldId="293"/>
        </pc:sldMkLst>
        <pc:spChg chg="mod">
          <ac:chgData name="Wind-Larsen, Taus (SGRE OF TE NAC TD SYC)" userId="909f4c56-f0bd-48e2-b5e6-c85fd07560b7" providerId="ADAL" clId="{CAC997D2-2045-4FBD-88AA-2930340D2AF4}" dt="2022-02-11T08:39:39.433" v="475" actId="948"/>
          <ac:spMkLst>
            <pc:docMk/>
            <pc:sldMk cId="1840042121" sldId="293"/>
            <ac:spMk id="2" creationId="{5D788ADA-8C37-43AB-89C9-1218A42316C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08:39:39.502" v="514"/>
          <ac:spMkLst>
            <pc:docMk/>
            <pc:sldMk cId="1840042121" sldId="293"/>
            <ac:spMk id="3" creationId="{9AFC42FD-458F-475F-BB8E-99436D21AF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37:13.060" v="34763" actId="14100"/>
          <ac:spMkLst>
            <pc:docMk/>
            <pc:sldMk cId="1840042121" sldId="293"/>
            <ac:spMk id="9" creationId="{AF7B6429-EB7C-432F-B4E4-2BABD184123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8:21.916" v="36686" actId="114"/>
          <ac:spMkLst>
            <pc:docMk/>
            <pc:sldMk cId="1840042121" sldId="293"/>
            <ac:spMk id="10" creationId="{BD5C9BD0-DEBA-441F-9811-E50C4D0B74C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9:39.502" v="516"/>
          <ac:graphicFrameMkLst>
            <pc:docMk/>
            <pc:sldMk cId="1840042121" sldId="293"/>
            <ac:graphicFrameMk id="7" creationId="{0CA3E6B4-5D0A-4682-8E37-8BE527F4F6A4}"/>
          </ac:graphicFrameMkLst>
        </pc:graphicFrameChg>
        <pc:graphicFrameChg chg="del mod modGraphic">
          <ac:chgData name="Wind-Larsen, Taus (SGRE OF TE NAC TD SYC)" userId="909f4c56-f0bd-48e2-b5e6-c85fd07560b7" providerId="ADAL" clId="{CAC997D2-2045-4FBD-88AA-2930340D2AF4}" dt="2022-02-11T13:38:19.318" v="34764" actId="478"/>
          <ac:graphicFrameMkLst>
            <pc:docMk/>
            <pc:sldMk cId="1840042121" sldId="293"/>
            <ac:graphicFrameMk id="13" creationId="{13840F47-2AF9-410A-8185-E31A15DAA6BB}"/>
          </ac:graphicFrameMkLst>
        </pc:graphicFrameChg>
      </pc:sldChg>
      <pc:sldChg chg="modSp add del mod ord">
        <pc:chgData name="Wind-Larsen, Taus (SGRE OF TE NAC TD SYC)" userId="909f4c56-f0bd-48e2-b5e6-c85fd07560b7" providerId="ADAL" clId="{CAC997D2-2045-4FBD-88AA-2930340D2AF4}" dt="2022-02-11T13:44:15.223" v="34903" actId="20577"/>
        <pc:sldMkLst>
          <pc:docMk/>
          <pc:sldMk cId="2483631185" sldId="294"/>
        </pc:sldMkLst>
        <pc:spChg chg="mod">
          <ac:chgData name="Wind-Larsen, Taus (SGRE OF TE NAC TD SYC)" userId="909f4c56-f0bd-48e2-b5e6-c85fd07560b7" providerId="ADAL" clId="{CAC997D2-2045-4FBD-88AA-2930340D2AF4}" dt="2022-02-11T13:43:20.397" v="34872" actId="20577"/>
          <ac:spMkLst>
            <pc:docMk/>
            <pc:sldMk cId="2483631185" sldId="294"/>
            <ac:spMk id="4" creationId="{7B1880A8-F560-4971-93F0-7C14A34CF76C}"/>
          </ac:spMkLst>
        </pc:spChg>
        <pc:spChg chg="mod">
          <ac:chgData name="Wind-Larsen, Taus (SGRE OF TE NAC TD SYC)" userId="909f4c56-f0bd-48e2-b5e6-c85fd07560b7" providerId="ADAL" clId="{CAC997D2-2045-4FBD-88AA-2930340D2AF4}" dt="2022-02-11T13:44:15.223" v="34903" actId="20577"/>
          <ac:spMkLst>
            <pc:docMk/>
            <pc:sldMk cId="2483631185" sldId="294"/>
            <ac:spMk id="9" creationId="{BD6FEC16-E623-48C9-9672-CDEEC8F3332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08:38:02.060" v="452"/>
          <ac:graphicFrameMkLst>
            <pc:docMk/>
            <pc:sldMk cId="2483631185" sldId="294"/>
            <ac:graphicFrameMk id="7" creationId="{0CA3E6B4-5D0A-4682-8E37-8BE527F4F6A4}"/>
          </ac:graphicFrameMkLst>
        </pc:graphicFrameChg>
      </pc:sldChg>
      <pc:sldChg chg="modSp mod ord">
        <pc:chgData name="Wind-Larsen, Taus (SGRE OF TE NAC TD SYC)" userId="909f4c56-f0bd-48e2-b5e6-c85fd07560b7" providerId="ADAL" clId="{CAC997D2-2045-4FBD-88AA-2930340D2AF4}" dt="2022-02-11T13:57:38.198" v="35948" actId="20577"/>
        <pc:sldMkLst>
          <pc:docMk/>
          <pc:sldMk cId="3176653745" sldId="296"/>
        </pc:sldMkLst>
        <pc:spChg chg="mod">
          <ac:chgData name="Wind-Larsen, Taus (SGRE OF TE NAC TD SYC)" userId="909f4c56-f0bd-48e2-b5e6-c85fd07560b7" providerId="ADAL" clId="{CAC997D2-2045-4FBD-88AA-2930340D2AF4}" dt="2022-02-11T13:57:38.198" v="35948" actId="20577"/>
          <ac:spMkLst>
            <pc:docMk/>
            <pc:sldMk cId="3176653745" sldId="296"/>
            <ac:spMk id="4" creationId="{7B1880A8-F560-4971-93F0-7C14A34CF76C}"/>
          </ac:spMkLst>
        </pc:spChg>
      </pc:sldChg>
      <pc:sldChg chg="addSp delSp modSp del mod ord">
        <pc:chgData name="Wind-Larsen, Taus (SGRE OF TE NAC TD SYC)" userId="909f4c56-f0bd-48e2-b5e6-c85fd07560b7" providerId="ADAL" clId="{CAC997D2-2045-4FBD-88AA-2930340D2AF4}" dt="2022-02-11T09:25:56.430" v="648" actId="47"/>
        <pc:sldMkLst>
          <pc:docMk/>
          <pc:sldMk cId="1163294343" sldId="298"/>
        </pc:sldMkLst>
        <pc:spChg chg="add del mod">
          <ac:chgData name="Wind-Larsen, Taus (SGRE OF TE NAC TD SYC)" userId="909f4c56-f0bd-48e2-b5e6-c85fd07560b7" providerId="ADAL" clId="{CAC997D2-2045-4FBD-88AA-2930340D2AF4}" dt="2022-02-11T09:22:22.413" v="591" actId="478"/>
          <ac:spMkLst>
            <pc:docMk/>
            <pc:sldMk cId="1163294343" sldId="298"/>
            <ac:spMk id="6" creationId="{7002898F-4CB5-4908-A4AC-A53C2175D7A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09:22:17.188" v="589" actId="478"/>
          <ac:spMkLst>
            <pc:docMk/>
            <pc:sldMk cId="1163294343" sldId="298"/>
            <ac:spMk id="8" creationId="{A2DC4E5B-D91D-4C2D-8B93-18BAD1A8865D}"/>
          </ac:spMkLst>
        </pc:spChg>
        <pc:spChg chg="del mod">
          <ac:chgData name="Wind-Larsen, Taus (SGRE OF TE NAC TD SYC)" userId="909f4c56-f0bd-48e2-b5e6-c85fd07560b7" providerId="ADAL" clId="{CAC997D2-2045-4FBD-88AA-2930340D2AF4}" dt="2022-02-11T09:20:26.163" v="580" actId="478"/>
          <ac:spMkLst>
            <pc:docMk/>
            <pc:sldMk cId="1163294343" sldId="298"/>
            <ac:spMk id="9" creationId="{1FBAB770-08BF-4BE4-AA95-ED4CA5E00D28}"/>
          </ac:spMkLst>
        </pc:spChg>
        <pc:spChg chg="add mod">
          <ac:chgData name="Wind-Larsen, Taus (SGRE OF TE NAC TD SYC)" userId="909f4c56-f0bd-48e2-b5e6-c85fd07560b7" providerId="ADAL" clId="{CAC997D2-2045-4FBD-88AA-2930340D2AF4}" dt="2022-02-11T09:23:45.135" v="611" actId="113"/>
          <ac:spMkLst>
            <pc:docMk/>
            <pc:sldMk cId="1163294343" sldId="298"/>
            <ac:spMk id="10" creationId="{F3B0E114-264F-4202-B6FD-C19654521FE1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25:38.184" v="202" actId="47"/>
        <pc:sldMkLst>
          <pc:docMk/>
          <pc:sldMk cId="1468755633" sldId="299"/>
        </pc:sldMkLst>
      </pc:sldChg>
      <pc:sldChg chg="modSp del mod">
        <pc:chgData name="Wind-Larsen, Taus (SGRE OF TE NAC TD SYC)" userId="909f4c56-f0bd-48e2-b5e6-c85fd07560b7" providerId="ADAL" clId="{CAC997D2-2045-4FBD-88AA-2930340D2AF4}" dt="2022-02-11T09:24:51.468" v="612" actId="47"/>
        <pc:sldMkLst>
          <pc:docMk/>
          <pc:sldMk cId="1398001458" sldId="305"/>
        </pc:sldMkLst>
        <pc:spChg chg="mod">
          <ac:chgData name="Wind-Larsen, Taus (SGRE OF TE NAC TD SYC)" userId="909f4c56-f0bd-48e2-b5e6-c85fd07560b7" providerId="ADAL" clId="{CAC997D2-2045-4FBD-88AA-2930340D2AF4}" dt="2022-02-11T08:30:26.729" v="311" actId="6549"/>
          <ac:spMkLst>
            <pc:docMk/>
            <pc:sldMk cId="1398001458" sldId="305"/>
            <ac:spMk id="9" creationId="{8316C5AD-B4DA-4900-89A4-B3DE30EFEBF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0:00:13.918" v="1120" actId="47"/>
        <pc:sldMkLst>
          <pc:docMk/>
          <pc:sldMk cId="3408353856" sldId="306"/>
        </pc:sldMkLst>
        <pc:spChg chg="mod">
          <ac:chgData name="Wind-Larsen, Taus (SGRE OF TE NAC TD SYC)" userId="909f4c56-f0bd-48e2-b5e6-c85fd07560b7" providerId="ADAL" clId="{CAC997D2-2045-4FBD-88AA-2930340D2AF4}" dt="2022-02-11T08:31:37.154" v="325" actId="20577"/>
          <ac:spMkLst>
            <pc:docMk/>
            <pc:sldMk cId="3408353856" sldId="306"/>
            <ac:spMk id="4" creationId="{0AB29B1F-D274-4F54-A777-B1BCA3CBCEE3}"/>
          </ac:spMkLst>
        </pc:spChg>
        <pc:spChg chg="mod">
          <ac:chgData name="Wind-Larsen, Taus (SGRE OF TE NAC TD SYC)" userId="909f4c56-f0bd-48e2-b5e6-c85fd07560b7" providerId="ADAL" clId="{CAC997D2-2045-4FBD-88AA-2930340D2AF4}" dt="2022-02-11T08:32:42.081" v="348" actId="114"/>
          <ac:spMkLst>
            <pc:docMk/>
            <pc:sldMk cId="3408353856" sldId="306"/>
            <ac:spMk id="11" creationId="{51DD4FB2-3608-4CCA-A5BA-02832567250E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20:58.258" v="33883" actId="47"/>
        <pc:sldMkLst>
          <pc:docMk/>
          <pc:sldMk cId="1697281255" sldId="307"/>
        </pc:sldMkLst>
        <pc:spChg chg="mod">
          <ac:chgData name="Wind-Larsen, Taus (SGRE OF TE NAC TD SYC)" userId="909f4c56-f0bd-48e2-b5e6-c85fd07560b7" providerId="ADAL" clId="{CAC997D2-2045-4FBD-88AA-2930340D2AF4}" dt="2022-02-11T08:34:03.198" v="395" actId="113"/>
          <ac:spMkLst>
            <pc:docMk/>
            <pc:sldMk cId="1697281255" sldId="307"/>
            <ac:spMk id="9" creationId="{9E13D2E9-3448-4B05-A060-5754F247B524}"/>
          </ac:spMkLst>
        </pc:spChg>
      </pc:sldChg>
      <pc:sldChg chg="modSp del mod">
        <pc:chgData name="Wind-Larsen, Taus (SGRE OF TE NAC TD SYC)" userId="909f4c56-f0bd-48e2-b5e6-c85fd07560b7" providerId="ADAL" clId="{CAC997D2-2045-4FBD-88AA-2930340D2AF4}" dt="2022-02-11T13:32:24.001" v="34256" actId="47"/>
        <pc:sldMkLst>
          <pc:docMk/>
          <pc:sldMk cId="2110885354" sldId="308"/>
        </pc:sldMkLst>
        <pc:spChg chg="mod">
          <ac:chgData name="Wind-Larsen, Taus (SGRE OF TE NAC TD SYC)" userId="909f4c56-f0bd-48e2-b5e6-c85fd07560b7" providerId="ADAL" clId="{CAC997D2-2045-4FBD-88AA-2930340D2AF4}" dt="2022-02-11T08:35:38.069" v="435" actId="114"/>
          <ac:spMkLst>
            <pc:docMk/>
            <pc:sldMk cId="2110885354" sldId="308"/>
            <ac:spMk id="9" creationId="{37637F06-2878-4AD0-9DEB-853E9FA19C8F}"/>
          </ac:spMkLst>
        </pc:spChg>
      </pc:sldChg>
      <pc:sldChg chg="addSp modSp add mod">
        <pc:chgData name="Wind-Larsen, Taus (SGRE OF TE NAC TD SYC)" userId="909f4c56-f0bd-48e2-b5e6-c85fd07560b7" providerId="ADAL" clId="{CAC997D2-2045-4FBD-88AA-2930340D2AF4}" dt="2022-02-11T13:11:34.715" v="33483"/>
        <pc:sldMkLst>
          <pc:docMk/>
          <pc:sldMk cId="284083800" sldId="310"/>
        </pc:sldMkLst>
        <pc:spChg chg="mod">
          <ac:chgData name="Wind-Larsen, Taus (SGRE OF TE NAC TD SYC)" userId="909f4c56-f0bd-48e2-b5e6-c85fd07560b7" providerId="ADAL" clId="{CAC997D2-2045-4FBD-88AA-2930340D2AF4}" dt="2022-02-11T12:59:41.261" v="33318" actId="20577"/>
          <ac:spMkLst>
            <pc:docMk/>
            <pc:sldMk cId="284083800" sldId="310"/>
            <ac:spMk id="4" creationId="{7B1880A8-F560-4971-93F0-7C14A34CF76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3:11:34.715" v="33483"/>
          <ac:spMkLst>
            <pc:docMk/>
            <pc:sldMk cId="284083800" sldId="310"/>
            <ac:spMk id="9" creationId="{3698ED41-C3E8-486F-AD21-3935B12EA1D6}"/>
          </ac:spMkLst>
        </pc:spChg>
        <pc:spChg chg="mod">
          <ac:chgData name="Wind-Larsen, Taus (SGRE OF TE NAC TD SYC)" userId="909f4c56-f0bd-48e2-b5e6-c85fd07560b7" providerId="ADAL" clId="{CAC997D2-2045-4FBD-88AA-2930340D2AF4}" dt="2022-02-11T13:10:29.927" v="33480" actId="5793"/>
          <ac:spMkLst>
            <pc:docMk/>
            <pc:sldMk cId="284083800" sldId="310"/>
            <ac:spMk id="11" creationId="{89B4B4D0-29E4-4778-863D-84D1F1E7D884}"/>
          </ac:spMkLst>
        </pc:spChg>
        <pc:picChg chg="add mod">
          <ac:chgData name="Wind-Larsen, Taus (SGRE OF TE NAC TD SYC)" userId="909f4c56-f0bd-48e2-b5e6-c85fd07560b7" providerId="ADAL" clId="{CAC997D2-2045-4FBD-88AA-2930340D2AF4}" dt="2022-02-11T13:11:11.681" v="33482"/>
          <ac:picMkLst>
            <pc:docMk/>
            <pc:sldMk cId="284083800" sldId="310"/>
            <ac:picMk id="8" creationId="{11D28B04-17F3-4014-8FB5-43BB1E461F6C}"/>
          </ac:picMkLst>
        </pc:picChg>
      </pc:sldChg>
      <pc:sldChg chg="del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3236824241" sldId="310"/>
        </pc:sldMkLst>
      </pc:sldChg>
      <pc:sldChg chg="delSp add del mod">
        <pc:chgData name="Wind-Larsen, Taus (SGRE OF TE NAC TD SYC)" userId="909f4c56-f0bd-48e2-b5e6-c85fd07560b7" providerId="ADAL" clId="{CAC997D2-2045-4FBD-88AA-2930340D2AF4}" dt="2022-02-11T13:11:55.710" v="33484" actId="47"/>
        <pc:sldMkLst>
          <pc:docMk/>
          <pc:sldMk cId="1651961601" sldId="311"/>
        </pc:sldMkLst>
        <pc:spChg chg="del">
          <ac:chgData name="Wind-Larsen, Taus (SGRE OF TE NAC TD SYC)" userId="909f4c56-f0bd-48e2-b5e6-c85fd07560b7" providerId="ADAL" clId="{CAC997D2-2045-4FBD-88AA-2930340D2AF4}" dt="2022-02-11T13:10:51.170" v="33481" actId="478"/>
          <ac:spMkLst>
            <pc:docMk/>
            <pc:sldMk cId="1651961601" sldId="311"/>
            <ac:spMk id="8" creationId="{7ECD6E56-672A-4277-96E0-AD1F7AAAA5E2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08:37:34.973" v="446" actId="2696"/>
        <pc:sldMkLst>
          <pc:docMk/>
          <pc:sldMk cId="4246467792" sldId="311"/>
        </pc:sldMkLst>
        <pc:graphicFrameChg chg="mod">
          <ac:chgData name="Wind-Larsen, Taus (SGRE OF TE NAC TD SYC)" userId="909f4c56-f0bd-48e2-b5e6-c85fd07560b7" providerId="ADAL" clId="{CAC997D2-2045-4FBD-88AA-2930340D2AF4}" dt="2022-02-11T08:36:36.679" v="442"/>
          <ac:graphicFrameMkLst>
            <pc:docMk/>
            <pc:sldMk cId="4246467792" sldId="311"/>
            <ac:graphicFrameMk id="7" creationId="{0CA3E6B4-5D0A-4682-8E37-8BE527F4F6A4}"/>
          </ac:graphicFrameMkLst>
        </pc:graphicFrameChg>
      </pc:sldChg>
      <pc:sldChg chg="del">
        <pc:chgData name="Wind-Larsen, Taus (SGRE OF TE NAC TD SYC)" userId="909f4c56-f0bd-48e2-b5e6-c85fd07560b7" providerId="ADAL" clId="{CAC997D2-2045-4FBD-88AA-2930340D2AF4}" dt="2022-02-11T08:31:18.213" v="322" actId="47"/>
        <pc:sldMkLst>
          <pc:docMk/>
          <pc:sldMk cId="228174764" sldId="312"/>
        </pc:sldMkLst>
      </pc:sldChg>
      <pc:sldChg chg="addSp delSp modSp mod">
        <pc:chgData name="Wind-Larsen, Taus (SGRE OF TE NAC TD SYC)" userId="909f4c56-f0bd-48e2-b5e6-c85fd07560b7" providerId="ADAL" clId="{CAC997D2-2045-4FBD-88AA-2930340D2AF4}" dt="2022-02-11T11:08:57.877" v="18295" actId="14734"/>
        <pc:sldMkLst>
          <pc:docMk/>
          <pc:sldMk cId="3672746191" sldId="313"/>
        </pc:sldMkLst>
        <pc:spChg chg="mod ord">
          <ac:chgData name="Wind-Larsen, Taus (SGRE OF TE NAC TD SYC)" userId="909f4c56-f0bd-48e2-b5e6-c85fd07560b7" providerId="ADAL" clId="{CAC997D2-2045-4FBD-88AA-2930340D2AF4}" dt="2022-02-11T10:50:00.576" v="18254"/>
          <ac:spMkLst>
            <pc:docMk/>
            <pc:sldMk cId="3672746191" sldId="313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6"/>
          <ac:spMkLst>
            <pc:docMk/>
            <pc:sldMk cId="3672746191" sldId="313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8"/>
          <ac:spMkLst>
            <pc:docMk/>
            <pc:sldMk cId="3672746191" sldId="313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62"/>
          <ac:spMkLst>
            <pc:docMk/>
            <pc:sldMk cId="3672746191" sldId="313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76" v="18252"/>
          <ac:spMkLst>
            <pc:docMk/>
            <pc:sldMk cId="3672746191" sldId="313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3:52.337" v="18280" actId="6549"/>
          <ac:spMkLst>
            <pc:docMk/>
            <pc:sldMk cId="3672746191" sldId="313"/>
            <ac:spMk id="11" creationId="{A6A93498-D709-4606-93BB-0C3A4FCE74B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0:46.341" v="17063"/>
          <ac:spMkLst>
            <pc:docMk/>
            <pc:sldMk cId="3672746191" sldId="313"/>
            <ac:spMk id="14" creationId="{B9FFDD25-0962-4E04-8E4B-72BA531A284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01.707" v="17227"/>
          <ac:spMkLst>
            <pc:docMk/>
            <pc:sldMk cId="3672746191" sldId="313"/>
            <ac:spMk id="15" creationId="{14873C52-7A64-408B-8FA3-C650A5E7ABA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1:24.808" v="17321"/>
          <ac:spMkLst>
            <pc:docMk/>
            <pc:sldMk cId="3672746191" sldId="313"/>
            <ac:spMk id="16" creationId="{B6D16597-4F8E-4C05-9CD1-81213D8D601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22:19.763" v="17415"/>
          <ac:spMkLst>
            <pc:docMk/>
            <pc:sldMk cId="3672746191" sldId="313"/>
            <ac:spMk id="17" creationId="{BA97D412-CEE5-4584-A9CE-61E96A1436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48.892" v="17744"/>
          <ac:spMkLst>
            <pc:docMk/>
            <pc:sldMk cId="3672746191" sldId="313"/>
            <ac:spMk id="18" creationId="{1EFA27A0-13E3-49A0-BEAD-CC99BB6159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1.754" v="17899"/>
          <ac:spMkLst>
            <pc:docMk/>
            <pc:sldMk cId="3672746191" sldId="313"/>
            <ac:spMk id="19" creationId="{C1D9B20D-900D-4727-9175-A6D4310B590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6.721" v="17986"/>
          <ac:spMkLst>
            <pc:docMk/>
            <pc:sldMk cId="3672746191" sldId="313"/>
            <ac:spMk id="20" creationId="{5FD534AF-1F23-4CF2-BA91-8779A13C584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8.128" v="18143"/>
          <ac:spMkLst>
            <pc:docMk/>
            <pc:sldMk cId="3672746191" sldId="313"/>
            <ac:spMk id="21" creationId="{D03D38D5-6320-4A0B-A41A-97AB46C1BB9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49:59.505" v="18230"/>
          <ac:spMkLst>
            <pc:docMk/>
            <pc:sldMk cId="3672746191" sldId="313"/>
            <ac:spMk id="22" creationId="{2359FB60-5AE8-472D-9B57-492FD2A86EE7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8"/>
          <ac:spMkLst>
            <pc:docMk/>
            <pc:sldMk cId="3672746191" sldId="313"/>
            <ac:spMk id="29" creationId="{574F7830-3277-4CAD-98A5-F693E90BB13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50:00.592" v="18269"/>
          <ac:spMkLst>
            <pc:docMk/>
            <pc:sldMk cId="3672746191" sldId="313"/>
            <ac:spMk id="31" creationId="{1391917A-2AE4-4098-82E0-056E2DBDF03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4"/>
          <ac:spMkLst>
            <pc:docMk/>
            <pc:sldMk cId="3672746191" sldId="313"/>
            <ac:spMk id="39" creationId="{DDAC7749-6B82-4800-A3D3-8D870FB2659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49:58.065" v="18096"/>
          <ac:spMkLst>
            <pc:docMk/>
            <pc:sldMk cId="3672746191" sldId="313"/>
            <ac:spMk id="42" creationId="{34BF0EB7-16B4-4C56-9979-C12F4F420EF4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5"/>
          <ac:spMkLst>
            <pc:docMk/>
            <pc:sldMk cId="3672746191" sldId="313"/>
            <ac:spMk id="44" creationId="{462DB0B3-18A4-4F73-A663-E9D946BD2F6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6"/>
          <ac:spMkLst>
            <pc:docMk/>
            <pc:sldMk cId="3672746191" sldId="313"/>
            <ac:spMk id="45" creationId="{F3188A6A-BEE4-43F6-97C4-5E57322E6DF1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67"/>
          <ac:spMkLst>
            <pc:docMk/>
            <pc:sldMk cId="3672746191" sldId="313"/>
            <ac:spMk id="46" creationId="{C4A7604B-C9E6-4085-B19C-DBC83134F055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22:34.867" v="17524"/>
          <ac:spMkLst>
            <pc:docMk/>
            <pc:sldMk cId="3672746191" sldId="313"/>
            <ac:spMk id="47" creationId="{4FC512C5-B21F-488F-8330-82273A92E5E3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4"/>
          <ac:spMkLst>
            <pc:docMk/>
            <pc:sldMk cId="3672746191" sldId="313"/>
            <ac:spMk id="48" creationId="{14112AE7-C64B-456E-BD58-BD23AD19912E}"/>
          </ac:spMkLst>
        </pc:spChg>
        <pc:spChg chg="mod">
          <ac:chgData name="Wind-Larsen, Taus (SGRE OF TE NAC TD SYC)" userId="909f4c56-f0bd-48e2-b5e6-c85fd07560b7" providerId="ADAL" clId="{CAC997D2-2045-4FBD-88AA-2930340D2AF4}" dt="2022-02-11T10:50:00.592" v="18275"/>
          <ac:spMkLst>
            <pc:docMk/>
            <pc:sldMk cId="3672746191" sldId="313"/>
            <ac:spMk id="49" creationId="{36FBA345-2F71-49BC-BC6C-0A4F04E7B2D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1"/>
          <ac:spMkLst>
            <pc:docMk/>
            <pc:sldMk cId="3672746191" sldId="313"/>
            <ac:spMk id="51" creationId="{9626419E-1770-461C-B169-1A28CE9769C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50:00.592" v="18273"/>
          <ac:spMkLst>
            <pc:docMk/>
            <pc:sldMk cId="3672746191" sldId="313"/>
            <ac:spMk id="52" creationId="{184377C7-E3A0-4F75-9525-93272C2BD5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50:00.545" v="18243"/>
          <ac:spMkLst>
            <pc:docMk/>
            <pc:sldMk cId="3672746191" sldId="313"/>
            <ac:spMk id="54" creationId="{01BE3067-2CCB-468F-8C22-1564DE733018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50:00.608" v="18279"/>
          <ac:graphicFrameMkLst>
            <pc:docMk/>
            <pc:sldMk cId="3672746191" sldId="313"/>
            <ac:graphicFrameMk id="7" creationId="{0CA3E6B4-5D0A-4682-8E37-8BE527F4F6A4}"/>
          </ac:graphicFrameMkLst>
        </pc:graphicFrameChg>
        <pc:graphicFrameChg chg="add del mod modGraphic">
          <ac:chgData name="Wind-Larsen, Taus (SGRE OF TE NAC TD SYC)" userId="909f4c56-f0bd-48e2-b5e6-c85fd07560b7" providerId="ADAL" clId="{CAC997D2-2045-4FBD-88AA-2930340D2AF4}" dt="2022-02-11T10:17:22.397" v="16616"/>
          <ac:graphicFrameMkLst>
            <pc:docMk/>
            <pc:sldMk cId="3672746191" sldId="313"/>
            <ac:graphicFrameMk id="12" creationId="{8A63B80A-494B-4EAC-A370-B383E61F3FAD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1:08:57.877" v="18295" actId="14734"/>
          <ac:graphicFrameMkLst>
            <pc:docMk/>
            <pc:sldMk cId="3672746191" sldId="313"/>
            <ac:graphicFrameMk id="13" creationId="{FC76582A-541B-4268-A18B-71CD41EB05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01.653" v="17185"/>
          <ac:graphicFrameMkLst>
            <pc:docMk/>
            <pc:sldMk cId="3672746191" sldId="313"/>
            <ac:graphicFrameMk id="30" creationId="{4AF0FCFA-F2E1-495C-8D18-597261F02E1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1:24.755" v="17279"/>
          <ac:graphicFrameMkLst>
            <pc:docMk/>
            <pc:sldMk cId="3672746191" sldId="313"/>
            <ac:graphicFrameMk id="32" creationId="{8E7180D7-4295-479A-A93A-53AE6C82401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19.709" v="17373"/>
          <ac:graphicFrameMkLst>
            <pc:docMk/>
            <pc:sldMk cId="3672746191" sldId="313"/>
            <ac:graphicFrameMk id="34" creationId="{1E496AAB-4249-400E-82B7-67F9F672169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27.533" v="17474"/>
          <ac:graphicFrameMkLst>
            <pc:docMk/>
            <pc:sldMk cId="3672746191" sldId="313"/>
            <ac:graphicFrameMk id="36" creationId="{F91EC725-2A59-4BEA-8C66-6440588DA5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22:34.883" v="17535"/>
          <ac:graphicFrameMkLst>
            <pc:docMk/>
            <pc:sldMk cId="3672746191" sldId="313"/>
            <ac:graphicFrameMk id="37" creationId="{C3EF7E25-67F8-4B93-A52B-7C3FD6678D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35.278" v="17610"/>
          <ac:graphicFrameMkLst>
            <pc:docMk/>
            <pc:sldMk cId="3672746191" sldId="313"/>
            <ac:graphicFrameMk id="38" creationId="{5AD43351-352C-4C4E-B8C2-83ECDA4461D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48.839" v="17710"/>
          <ac:graphicFrameMkLst>
            <pc:docMk/>
            <pc:sldMk cId="3672746191" sldId="313"/>
            <ac:graphicFrameMk id="40" creationId="{81AE18A5-9C7A-489B-B11E-D7BF06FAC5A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1.704" v="17864"/>
          <ac:graphicFrameMkLst>
            <pc:docMk/>
            <pc:sldMk cId="3672746191" sldId="313"/>
            <ac:graphicFrameMk id="41" creationId="{E2FE23A1-4D00-42CF-BC7A-E9EA22406A0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6.668" v="17951"/>
          <ac:graphicFrameMkLst>
            <pc:docMk/>
            <pc:sldMk cId="3672746191" sldId="313"/>
            <ac:graphicFrameMk id="50" creationId="{506CAEBA-849E-46D9-805A-F333C17EE02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8.065" v="18108"/>
          <ac:graphicFrameMkLst>
            <pc:docMk/>
            <pc:sldMk cId="3672746191" sldId="313"/>
            <ac:graphicFrameMk id="53" creationId="{BE1BD3C5-47EA-4DD0-9841-B02C49F3BF5F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20:46.282" v="17022"/>
          <ac:graphicFrameMkLst>
            <pc:docMk/>
            <pc:sldMk cId="3672746191" sldId="313"/>
            <ac:graphicFrameMk id="55" creationId="{0CE55B2B-7639-4710-A91C-B990DDFC74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49:59.442" v="18195"/>
          <ac:graphicFrameMkLst>
            <pc:docMk/>
            <pc:sldMk cId="3672746191" sldId="313"/>
            <ac:graphicFrameMk id="56" creationId="{72F14736-63C8-44EC-9477-9887719281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50:00.545" v="18245"/>
          <ac:graphicFrameMkLst>
            <pc:docMk/>
            <pc:sldMk cId="3672746191" sldId="313"/>
            <ac:graphicFrameMk id="57" creationId="{9AF6B4CA-6331-47BC-AF5D-C37DD87091F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50:00.592" v="18263"/>
          <ac:graphicFrameMkLst>
            <pc:docMk/>
            <pc:sldMk cId="3672746191" sldId="313"/>
            <ac:graphicFrameMk id="58" creationId="{268C19AF-944F-4775-AE06-14BFF1C4EB4C}"/>
          </ac:graphicFrameMkLst>
        </pc:graphicFrameChg>
        <pc:picChg chg="add del mod">
          <ac:chgData name="Wind-Larsen, Taus (SGRE OF TE NAC TD SYC)" userId="909f4c56-f0bd-48e2-b5e6-c85fd07560b7" providerId="ADAL" clId="{CAC997D2-2045-4FBD-88AA-2930340D2AF4}" dt="2022-02-11T10:17:01.296" v="16610" actId="478"/>
          <ac:picMkLst>
            <pc:docMk/>
            <pc:sldMk cId="3672746191" sldId="313"/>
            <ac:picMk id="9" creationId="{D2F89DC8-5C74-4836-BB22-80027E2BF6DA}"/>
          </ac:picMkLst>
        </pc:picChg>
        <pc:picChg chg="del">
          <ac:chgData name="Wind-Larsen, Taus (SGRE OF TE NAC TD SYC)" userId="909f4c56-f0bd-48e2-b5e6-c85fd07560b7" providerId="ADAL" clId="{CAC997D2-2045-4FBD-88AA-2930340D2AF4}" dt="2022-02-11T10:15:32.922" v="16603" actId="478"/>
          <ac:picMkLst>
            <pc:docMk/>
            <pc:sldMk cId="3672746191" sldId="313"/>
            <ac:picMk id="10" creationId="{DC9EAB48-116D-4DCD-B020-FFC9C222C131}"/>
          </ac:picMkLst>
        </pc:picChg>
        <pc:cxnChg chg="del mod ord">
          <ac:chgData name="Wind-Larsen, Taus (SGRE OF TE NAC TD SYC)" userId="909f4c56-f0bd-48e2-b5e6-c85fd07560b7" providerId="ADAL" clId="{CAC997D2-2045-4FBD-88AA-2930340D2AF4}" dt="2022-02-11T10:22:34.867" v="17522"/>
          <ac:cxnSpMkLst>
            <pc:docMk/>
            <pc:sldMk cId="3672746191" sldId="313"/>
            <ac:cxnSpMk id="24" creationId="{F4C36181-9D27-4939-A54D-678B1532EE0F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20"/>
          <ac:cxnSpMkLst>
            <pc:docMk/>
            <pc:sldMk cId="3672746191" sldId="313"/>
            <ac:cxnSpMk id="26" creationId="{A763C920-A776-498F-A8B0-16AF1591AE38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22:34.861" v="17518"/>
          <ac:cxnSpMkLst>
            <pc:docMk/>
            <pc:sldMk cId="3672746191" sldId="313"/>
            <ac:cxnSpMk id="27" creationId="{D2A0C21C-9E2E-4F75-AB27-727E91C76C13}"/>
          </ac:cxnSpMkLst>
        </pc:cxnChg>
      </pc:sldChg>
      <pc:sldChg chg="addSp delSp modSp mod">
        <pc:chgData name="Wind-Larsen, Taus (SGRE OF TE NAC TD SYC)" userId="909f4c56-f0bd-48e2-b5e6-c85fd07560b7" providerId="ADAL" clId="{CAC997D2-2045-4FBD-88AA-2930340D2AF4}" dt="2022-02-11T14:53:02.940" v="36680"/>
        <pc:sldMkLst>
          <pc:docMk/>
          <pc:sldMk cId="1209066160" sldId="314"/>
        </pc:sldMkLst>
        <pc:spChg chg="mod ord">
          <ac:chgData name="Wind-Larsen, Taus (SGRE OF TE NAC TD SYC)" userId="909f4c56-f0bd-48e2-b5e6-c85fd07560b7" providerId="ADAL" clId="{CAC997D2-2045-4FBD-88AA-2930340D2AF4}" dt="2022-02-11T14:53:02.914" v="36647"/>
          <ac:spMkLst>
            <pc:docMk/>
            <pc:sldMk cId="1209066160" sldId="314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49"/>
          <ac:spMkLst>
            <pc:docMk/>
            <pc:sldMk cId="1209066160" sldId="314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6" v="36651"/>
          <ac:spMkLst>
            <pc:docMk/>
            <pc:sldMk cId="1209066160" sldId="314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9" v="36655"/>
          <ac:spMkLst>
            <pc:docMk/>
            <pc:sldMk cId="1209066160" sldId="314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3" v="36645"/>
          <ac:spMkLst>
            <pc:docMk/>
            <pc:sldMk cId="1209066160" sldId="314"/>
            <ac:spMk id="6" creationId="{FB9CFFEC-C97F-4015-BB00-142261497CAB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17" v="36653"/>
          <ac:spMkLst>
            <pc:docMk/>
            <pc:sldMk cId="1209066160" sldId="314"/>
            <ac:spMk id="9" creationId="{04F17845-4D22-45ED-9899-3BF6E77ACD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19.233" v="19118"/>
          <ac:spMkLst>
            <pc:docMk/>
            <pc:sldMk cId="1209066160" sldId="314"/>
            <ac:spMk id="10" creationId="{681B0732-662D-4D3E-A5A7-5B57C58712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22.692" v="19289"/>
          <ac:spMkLst>
            <pc:docMk/>
            <pc:sldMk cId="1209066160" sldId="314"/>
            <ac:spMk id="12" creationId="{6EA7E408-3B4B-47BA-BD28-D2355E257DD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0.755" v="19408"/>
          <ac:spMkLst>
            <pc:docMk/>
            <pc:sldMk cId="1209066160" sldId="314"/>
            <ac:spMk id="13" creationId="{6CC59C4D-F0EA-4405-8513-5B36418E12F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4.872" v="19845"/>
          <ac:spMkLst>
            <pc:docMk/>
            <pc:sldMk cId="1209066160" sldId="314"/>
            <ac:spMk id="14" creationId="{A286AA19-2891-42C6-B3F4-E33BB8FC643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38.035" v="19970"/>
          <ac:spMkLst>
            <pc:docMk/>
            <pc:sldMk cId="1209066160" sldId="314"/>
            <ac:spMk id="15" creationId="{72CA66A2-3764-43E2-86EC-FCAF22AB5A4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46.642" v="20078"/>
          <ac:spMkLst>
            <pc:docMk/>
            <pc:sldMk cId="1209066160" sldId="314"/>
            <ac:spMk id="16" creationId="{1C50708C-9619-4E4A-8BC5-AB72ABD349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2.280" v="20174"/>
          <ac:spMkLst>
            <pc:docMk/>
            <pc:sldMk cId="1209066160" sldId="314"/>
            <ac:spMk id="17" creationId="{610290DD-11A3-4B26-91EE-F333F544231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2:54.998" v="20272"/>
          <ac:spMkLst>
            <pc:docMk/>
            <pc:sldMk cId="1209066160" sldId="314"/>
            <ac:spMk id="18" creationId="{C5E8198F-9661-47A1-B97D-BE81062EAEE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08.220" v="20437"/>
          <ac:spMkLst>
            <pc:docMk/>
            <pc:sldMk cId="1209066160" sldId="314"/>
            <ac:spMk id="19" creationId="{D428ACD5-8D2B-4477-B907-9357B0FC651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2.265" v="20602"/>
          <ac:spMkLst>
            <pc:docMk/>
            <pc:sldMk cId="1209066160" sldId="314"/>
            <ac:spMk id="20" creationId="{386DF00C-E8E4-4E66-BD30-8E6C59F127B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16.707" v="20769"/>
          <ac:spMkLst>
            <pc:docMk/>
            <pc:sldMk cId="1209066160" sldId="314"/>
            <ac:spMk id="21" creationId="{AF129EDB-5E51-4AAA-B2B4-A13C2396B75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0.948" v="20882"/>
          <ac:spMkLst>
            <pc:docMk/>
            <pc:sldMk cId="1209066160" sldId="314"/>
            <ac:spMk id="22" creationId="{EC1C6D24-3536-4F01-8364-6773BD96658D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3" creationId="{F7660974-F7B8-468B-9F1B-A768984AC22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4" creationId="{FE6314DC-C4E9-42DB-AF1F-F1529E09E031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5" creationId="{A89221C6-E52A-4EE3-9E36-87B05905BE8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7" v="36667"/>
          <ac:spMkLst>
            <pc:docMk/>
            <pc:sldMk cId="1209066160" sldId="314"/>
            <ac:spMk id="26" creationId="{5D8DC933-BD83-4105-A2C4-90E882B5AF2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0" v="36669"/>
          <ac:spMkLst>
            <pc:docMk/>
            <pc:sldMk cId="1209066160" sldId="314"/>
            <ac:spMk id="27" creationId="{517F3945-3335-456D-836F-959B7E8B38D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3" v="36671"/>
          <ac:spMkLst>
            <pc:docMk/>
            <pc:sldMk cId="1209066160" sldId="314"/>
            <ac:spMk id="28" creationId="{2FD4225D-9A52-463F-89E3-923BA9F25DF4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29" creationId="{37772C43-C862-4EC0-AADA-2EDE82B7D63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64" v="19932"/>
          <ac:spMkLst>
            <pc:docMk/>
            <pc:sldMk cId="1209066160" sldId="314"/>
            <ac:spMk id="30" creationId="{4EA7C3B8-208D-4052-8607-00501DD1CF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4" v="19293"/>
          <ac:spMkLst>
            <pc:docMk/>
            <pc:sldMk cId="1209066160" sldId="314"/>
            <ac:spMk id="31" creationId="{C66C1499-1B8C-46D4-B9AB-9FF0AB5E678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278" v="19294"/>
          <ac:spMkLst>
            <pc:docMk/>
            <pc:sldMk cId="1209066160" sldId="314"/>
            <ac:spMk id="32" creationId="{A80F393C-D8D1-4152-8F6E-981F9BDF777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4"/>
          <ac:spMkLst>
            <pc:docMk/>
            <pc:sldMk cId="1209066160" sldId="314"/>
            <ac:spMk id="33" creationId="{25175C36-499C-4A87-B72F-BA6FBE5825E3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5"/>
          <ac:spMkLst>
            <pc:docMk/>
            <pc:sldMk cId="1209066160" sldId="314"/>
            <ac:spMk id="34" creationId="{0B80334B-3D07-4D27-8662-22D31CFB2CC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0.642" v="19376"/>
          <ac:spMkLst>
            <pc:docMk/>
            <pc:sldMk cId="1209066160" sldId="314"/>
            <ac:spMk id="35" creationId="{5D169CAB-A598-4A04-8D57-E0797BE327CA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37" creationId="{3D9EEAFE-14AF-4034-9444-4A2019A7BBD3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0.458" v="19326"/>
          <ac:spMkLst>
            <pc:docMk/>
            <pc:sldMk cId="1209066160" sldId="314"/>
            <ac:spMk id="38" creationId="{51B4047C-E4C1-4AD5-8AA7-1E8AE4D1727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70" v="19934"/>
          <ac:spMkLst>
            <pc:docMk/>
            <pc:sldMk cId="1209066160" sldId="314"/>
            <ac:spMk id="41" creationId="{C14CAEE0-BF07-4532-A666-7868E7625A1F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2" creationId="{BBA672EB-9970-4F15-BD9F-B55D4CA6B09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43.899" v="21057"/>
          <ac:spMkLst>
            <pc:docMk/>
            <pc:sldMk cId="1209066160" sldId="314"/>
            <ac:spMk id="43" creationId="{74F0B28F-CBC2-42A6-9020-B1F050AD7C32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4" creationId="{08A67F4F-8F18-4B08-9CE4-15A915E687F0}"/>
          </ac:spMkLst>
        </pc:spChg>
        <pc:spChg chg="del">
          <ac:chgData name="Wind-Larsen, Taus (SGRE OF TE NAC TD SYC)" userId="909f4c56-f0bd-48e2-b5e6-c85fd07560b7" providerId="ADAL" clId="{CAC997D2-2045-4FBD-88AA-2930340D2AF4}" dt="2022-02-11T12:31:53.647" v="18319" actId="478"/>
          <ac:spMkLst>
            <pc:docMk/>
            <pc:sldMk cId="1209066160" sldId="314"/>
            <ac:spMk id="45" creationId="{EC5EE86D-90DC-43FB-91E0-042A768F72B5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2:37.409" v="19850"/>
          <ac:spMkLst>
            <pc:docMk/>
            <pc:sldMk cId="1209066160" sldId="314"/>
            <ac:spMk id="46" creationId="{09A67A54-4989-4CAA-83E1-3C6C7E6A053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2" v="19936"/>
          <ac:spMkLst>
            <pc:docMk/>
            <pc:sldMk cId="1209066160" sldId="314"/>
            <ac:spMk id="47" creationId="{E0174BA6-0B81-44DE-B3B7-03AA6219E815}"/>
          </ac:spMkLst>
        </pc:spChg>
        <pc:spChg chg="del">
          <ac:chgData name="Wind-Larsen, Taus (SGRE OF TE NAC TD SYC)" userId="909f4c56-f0bd-48e2-b5e6-c85fd07560b7" providerId="ADAL" clId="{CAC997D2-2045-4FBD-88AA-2930340D2AF4}" dt="2022-02-11T11:10:24.246" v="18312" actId="478"/>
          <ac:spMkLst>
            <pc:docMk/>
            <pc:sldMk cId="1209066160" sldId="314"/>
            <ac:spMk id="48" creationId="{7C0543D2-EE86-4BF6-94E2-DBB2010B93A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7" v="19937"/>
          <ac:spMkLst>
            <pc:docMk/>
            <pc:sldMk cId="1209066160" sldId="314"/>
            <ac:spMk id="52" creationId="{5D79ED0A-799D-452B-9898-2FF89A399F2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2:37.898" v="19938"/>
          <ac:spMkLst>
            <pc:docMk/>
            <pc:sldMk cId="1209066160" sldId="314"/>
            <ac:spMk id="53" creationId="{9938A5CB-11DF-4E4C-9C40-F578C474C1FE}"/>
          </ac:spMkLst>
        </pc:spChg>
        <pc:spChg chg="mod ord">
          <ac:chgData name="Wind-Larsen, Taus (SGRE OF TE NAC TD SYC)" userId="909f4c56-f0bd-48e2-b5e6-c85fd07560b7" providerId="ADAL" clId="{CAC997D2-2045-4FBD-88AA-2930340D2AF4}" dt="2022-02-11T14:53:02.920" v="36657"/>
          <ac:spMkLst>
            <pc:docMk/>
            <pc:sldMk cId="1209066160" sldId="314"/>
            <ac:spMk id="57" creationId="{6FAB43A1-EA11-4255-B86F-726004BB6D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29" v="36668"/>
          <ac:spMkLst>
            <pc:docMk/>
            <pc:sldMk cId="1209066160" sldId="314"/>
            <ac:spMk id="59" creationId="{25CFCEC0-B110-4174-A12D-60BA5D61B64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1" v="36670"/>
          <ac:spMkLst>
            <pc:docMk/>
            <pc:sldMk cId="1209066160" sldId="314"/>
            <ac:spMk id="61" creationId="{D13114FD-DCB1-4DA4-A7D1-73E0F6D540A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4" v="36672"/>
          <ac:spMkLst>
            <pc:docMk/>
            <pc:sldMk cId="1209066160" sldId="314"/>
            <ac:spMk id="63" creationId="{D3696484-1079-407D-8807-61547CA1741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7" v="36674"/>
          <ac:spMkLst>
            <pc:docMk/>
            <pc:sldMk cId="1209066160" sldId="314"/>
            <ac:spMk id="65" creationId="{290E05D6-59AA-47D6-A84B-621B888831E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8" v="36675"/>
          <ac:spMkLst>
            <pc:docMk/>
            <pc:sldMk cId="1209066160" sldId="314"/>
            <ac:spMk id="67" creationId="{529E55F6-06A8-434C-B0E0-D8A9D0616ED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4:53:02.939" v="36676"/>
          <ac:spMkLst>
            <pc:docMk/>
            <pc:sldMk cId="1209066160" sldId="314"/>
            <ac:spMk id="69" creationId="{20DA7BC9-8807-475C-9621-163B010D23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3:33.854" v="20957"/>
          <ac:spMkLst>
            <pc:docMk/>
            <pc:sldMk cId="1209066160" sldId="314"/>
            <ac:spMk id="71" creationId="{9455F0BE-49F6-45FF-962E-6F5D3D9B189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3:33.978" v="20993"/>
          <ac:spMkLst>
            <pc:docMk/>
            <pc:sldMk cId="1209066160" sldId="314"/>
            <ac:spMk id="72" creationId="{2FE6A411-51CE-4B8B-8A84-BA22816AB7D1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4:53:02.940" v="36678"/>
          <ac:spMkLst>
            <pc:docMk/>
            <pc:sldMk cId="1209066160" sldId="314"/>
            <ac:spMk id="78" creationId="{4ACE6BF3-1590-4A5A-94F5-E5E6F38680B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10.435" v="21425"/>
          <ac:spMkLst>
            <pc:docMk/>
            <pc:sldMk cId="1209066160" sldId="314"/>
            <ac:spMk id="79" creationId="{857E168C-CFBF-4FE8-9EBF-64B22AE46B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4:21.905" v="21535"/>
          <ac:spMkLst>
            <pc:docMk/>
            <pc:sldMk cId="1209066160" sldId="314"/>
            <ac:spMk id="84" creationId="{4DDE55F7-0B61-42A3-952E-7225ECC48F5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0:28.669" v="30124"/>
          <ac:spMkLst>
            <pc:docMk/>
            <pc:sldMk cId="1209066160" sldId="314"/>
            <ac:spMk id="87" creationId="{97B4EBD5-42FC-49C9-8FA3-ECD7DF4582D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0.991" v="21775"/>
          <ac:spMkLst>
            <pc:docMk/>
            <pc:sldMk cId="1209066160" sldId="314"/>
            <ac:spMk id="88" creationId="{67B6ACC7-036B-4F03-86BA-8D3143242D3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5:54.852" v="21870"/>
          <ac:spMkLst>
            <pc:docMk/>
            <pc:sldMk cId="1209066160" sldId="314"/>
            <ac:spMk id="90" creationId="{AC1DF291-FD0B-43B6-9E60-A547AA81FCE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3" creationId="{5DBCD7ED-F03B-48E4-BE94-2DE68D49999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4" creationId="{98CDE4BE-1FBB-4F69-B5C0-7E47F2C392FE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5" creationId="{9B215EF6-50A4-4386-BF2B-2684D819B3A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6" creationId="{58429218-67E4-437B-B73C-01F3CA58039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7" creationId="{DEE3B0C3-69D8-4E1B-A221-21D7E384673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8" creationId="{2A4D91AA-5ECA-4DE3-9C34-9C4B9D6AB11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99" creationId="{6AAE5FBA-7C12-446B-8442-EDB42780AF3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0" creationId="{583A2EFA-6879-49CC-A644-8B18E68D06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1" creationId="{875B51DE-4724-40E6-98B3-27771A67FB5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2" creationId="{82F05C75-25F1-4BE1-954A-80F5CBD42C3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3" creationId="{399D21A8-C23E-4201-98AD-86D9FD4EA35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6:39.831" v="23641"/>
          <ac:spMkLst>
            <pc:docMk/>
            <pc:sldMk cId="1209066160" sldId="314"/>
            <ac:spMk id="104" creationId="{62CB5B16-FE22-423E-8F75-40FBACD452C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31.110" v="29280"/>
          <ac:spMkLst>
            <pc:docMk/>
            <pc:sldMk cId="1209066160" sldId="314"/>
            <ac:spMk id="106" creationId="{524A4502-792B-4E53-A7BE-29B83F23351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3"/>
          <ac:spMkLst>
            <pc:docMk/>
            <pc:sldMk cId="1209066160" sldId="314"/>
            <ac:spMk id="107" creationId="{29AC5CAE-77A9-4ECC-A24A-BAEEF4B8194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3" v="29834"/>
          <ac:spMkLst>
            <pc:docMk/>
            <pc:sldMk cId="1209066160" sldId="314"/>
            <ac:spMk id="108" creationId="{74C24CCF-5726-420C-8090-0C83CAF3E29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4" v="29835"/>
          <ac:spMkLst>
            <pc:docMk/>
            <pc:sldMk cId="1209066160" sldId="314"/>
            <ac:spMk id="109" creationId="{4EFE632E-F530-400C-B78B-6AAC06462B7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875" v="29836"/>
          <ac:spMkLst>
            <pc:docMk/>
            <pc:sldMk cId="1209066160" sldId="314"/>
            <ac:spMk id="110" creationId="{47639D9D-98DD-402E-93F7-4C21BCE8C98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7.995" v="29900"/>
          <ac:spMkLst>
            <pc:docMk/>
            <pc:sldMk cId="1209066160" sldId="314"/>
            <ac:spMk id="111" creationId="{A2C8AB76-0D57-4953-8914-9B9ED49244F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4" creationId="{A7AEEAA5-745A-4BE8-B291-C60E5872934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2.396" v="28125"/>
          <ac:spMkLst>
            <pc:docMk/>
            <pc:sldMk cId="1209066160" sldId="314"/>
            <ac:spMk id="115" creationId="{5DEA6C07-3651-4342-86B4-0890DA1B51C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7" creationId="{373EEA6D-1254-4854-85D1-0C06A825E4F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8" creationId="{6194C3AE-911F-4F33-8C61-21A50CA4AD4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19" creationId="{2748EFEF-648F-483B-85FE-E30DC515DF1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0" creationId="{D051E974-8120-42E6-A79A-8731A1C41C4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1" creationId="{2ED41E2F-4B9A-4AA9-AD16-B09656F6364C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2:38:31.325" v="28022"/>
          <ac:spMkLst>
            <pc:docMk/>
            <pc:sldMk cId="1209066160" sldId="314"/>
            <ac:spMk id="123" creationId="{D99B5423-823F-42E6-8972-F05139BE4E4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4" creationId="{0E398622-10EF-49F1-8E74-C8B31E0061B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5" creationId="{56F377D7-27D6-4D57-B4AB-9E78E20D1D6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6" creationId="{2AE69126-DF6B-41F5-A854-76B4FB9392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7" creationId="{81F3A2D2-889E-4BFA-9C1D-7B49B561B65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8" creationId="{F9AB28B7-AC62-4F68-B7BC-EFD7271B86AA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29" creationId="{29E666CA-A92C-4C84-AFEC-437F8430A42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0" creationId="{1D52D603-E050-4FFA-A76A-24C628362ED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1" creationId="{CB28C14E-D55B-4858-A6AC-0DF20AD9826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2" creationId="{0AF6253A-9D5E-452D-BFAA-C797BAFD4A6D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3" creationId="{53C91307-D8D8-43C6-BB90-3C4BB82A9287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4" creationId="{0B7AE0EE-7229-40BD-945E-2B6783B95DA2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9.765" v="27684"/>
          <ac:spMkLst>
            <pc:docMk/>
            <pc:sldMk cId="1209066160" sldId="314"/>
            <ac:spMk id="135" creationId="{B977F201-02B8-4822-A5F8-3A9F2253141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7" creationId="{B2F4F0B7-D582-49AE-86F0-BAA02AC5CBF6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8" creationId="{EFA28ABB-9357-4BB5-A419-964F955AEBE1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39" creationId="{A4276058-8403-408C-B5A4-09309FFCF020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0" creationId="{3E124EA1-DA55-429D-A434-E9E5B052A4D5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1" creationId="{4DDECD60-3E64-415B-A11A-2C6A5FC11D48}"/>
          </ac:spMkLst>
        </pc:spChg>
        <pc:spChg chg="add mod">
          <ac:chgData name="Wind-Larsen, Taus (SGRE OF TE NAC TD SYC)" userId="909f4c56-f0bd-48e2-b5e6-c85fd07560b7" providerId="ADAL" clId="{CAC997D2-2045-4FBD-88AA-2930340D2AF4}" dt="2022-02-11T12:38:28.500" v="26984"/>
          <ac:spMkLst>
            <pc:docMk/>
            <pc:sldMk cId="1209066160" sldId="314"/>
            <ac:spMk id="142" creationId="{81FB219B-0E67-492E-97B8-0D8E976462B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4.329" v="29712"/>
          <ac:spMkLst>
            <pc:docMk/>
            <pc:sldMk cId="1209066160" sldId="314"/>
            <ac:spMk id="145" creationId="{664F4D99-5D40-4E91-AEBF-664B01E390F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39:45.163" v="29732"/>
          <ac:spMkLst>
            <pc:docMk/>
            <pc:sldMk cId="1209066160" sldId="314"/>
            <ac:spMk id="146" creationId="{36A717CD-C2AE-45CC-89D2-41D242CDC1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39:48.079" v="29961"/>
          <ac:spMkLst>
            <pc:docMk/>
            <pc:sldMk cId="1209066160" sldId="314"/>
            <ac:spMk id="149" creationId="{A4675B89-07BF-436B-B97A-3E26AC48D958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1:47.604" v="31246"/>
          <ac:spMkLst>
            <pc:docMk/>
            <pc:sldMk cId="1209066160" sldId="314"/>
            <ac:spMk id="151" creationId="{D8C83C6E-7897-41BF-8040-138881AF63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0:09.154" v="30121"/>
          <ac:spMkLst>
            <pc:docMk/>
            <pc:sldMk cId="1209066160" sldId="314"/>
            <ac:spMk id="152" creationId="{5D152618-3CAF-4691-8FD9-0B5F884D1E4F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6" creationId="{AE417529-DCE9-47E1-8A33-D7A35494EC2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02.949" v="30673"/>
          <ac:spMkLst>
            <pc:docMk/>
            <pc:sldMk cId="1209066160" sldId="314"/>
            <ac:spMk id="157" creationId="{447DF699-4EC2-43BF-9E99-BC7141CEA3C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1:10.636" v="30865"/>
          <ac:spMkLst>
            <pc:docMk/>
            <pc:sldMk cId="1209066160" sldId="314"/>
            <ac:spMk id="164" creationId="{1FF4EAF8-14B4-48BB-9DF6-F1D69F8EC143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02.935" v="36673"/>
          <ac:spMkLst>
            <pc:docMk/>
            <pc:sldMk cId="1209066160" sldId="314"/>
            <ac:spMk id="175" creationId="{713D82D2-1066-4FEE-96C3-92967F850F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29.970" v="31554"/>
          <ac:spMkLst>
            <pc:docMk/>
            <pc:sldMk cId="1209066160" sldId="314"/>
            <ac:spMk id="176" creationId="{14994619-8359-4E1C-9B33-A6F93E29FFD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1.596" v="31716"/>
          <ac:spMkLst>
            <pc:docMk/>
            <pc:sldMk cId="1209066160" sldId="314"/>
            <ac:spMk id="179" creationId="{011D164F-BB68-4E5D-9153-0575F918BF6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4.043" v="31948"/>
          <ac:spMkLst>
            <pc:docMk/>
            <pc:sldMk cId="1209066160" sldId="314"/>
            <ac:spMk id="181" creationId="{60038389-1359-4EE4-AA2D-DAAA2249A41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47.560" v="31881"/>
          <ac:spMkLst>
            <pc:docMk/>
            <pc:sldMk cId="1209066160" sldId="314"/>
            <ac:spMk id="182" creationId="{7F1BAF51-0A30-4312-8074-D38E638E8B9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2:59.255" v="32236"/>
          <ac:spMkLst>
            <pc:docMk/>
            <pc:sldMk cId="1209066160" sldId="314"/>
            <ac:spMk id="185" creationId="{1D134706-D0D9-4E9B-8DDD-9C165985B80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4.384" v="32109"/>
          <ac:spMkLst>
            <pc:docMk/>
            <pc:sldMk cId="1209066160" sldId="314"/>
            <ac:spMk id="186" creationId="{AAAEADD3-5043-4D76-B28B-9991062CA165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3.138" v="32466"/>
          <ac:spMkLst>
            <pc:docMk/>
            <pc:sldMk cId="1209066160" sldId="314"/>
            <ac:spMk id="190" creationId="{7EBB0A07-6687-4445-9E2F-196F9BF964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2:59.651" v="32395"/>
          <ac:spMkLst>
            <pc:docMk/>
            <pc:sldMk cId="1209066160" sldId="314"/>
            <ac:spMk id="191" creationId="{6EE23DB8-5B9B-49AA-8809-4CDC80A32017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07.762" v="32696"/>
          <ac:spMkLst>
            <pc:docMk/>
            <pc:sldMk cId="1209066160" sldId="314"/>
            <ac:spMk id="194" creationId="{7B4D8911-BCA4-4C6B-9891-7F00E346A0A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3.612" v="32623"/>
          <ac:spMkLst>
            <pc:docMk/>
            <pc:sldMk cId="1209066160" sldId="314"/>
            <ac:spMk id="195" creationId="{E2AB06E3-BA31-4ECC-91CB-DBE0F45EB374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2:43:11.322" v="32926"/>
          <ac:spMkLst>
            <pc:docMk/>
            <pc:sldMk cId="1209066160" sldId="314"/>
            <ac:spMk id="198" creationId="{2DD7DB1F-D389-47AF-9719-4060F9EBB0C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08.181" v="32851"/>
          <ac:spMkLst>
            <pc:docMk/>
            <pc:sldMk cId="1209066160" sldId="314"/>
            <ac:spMk id="199" creationId="{547952FF-3DCB-4CC4-89E1-4E991734B87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2:43:39.777" v="33077"/>
          <ac:spMkLst>
            <pc:docMk/>
            <pc:sldMk cId="1209066160" sldId="314"/>
            <ac:spMk id="203" creationId="{5E035AED-0266-47E2-85D4-1B523EDD920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4:53:02.940" v="36680"/>
          <ac:graphicFrameMkLst>
            <pc:docMk/>
            <pc:sldMk cId="1209066160" sldId="314"/>
            <ac:graphicFrameMk id="7" creationId="{0CA3E6B4-5D0A-4682-8E37-8BE527F4F6A4}"/>
          </ac:graphicFrameMkLst>
        </pc:graphicFrameChg>
        <pc:graphicFrameChg chg="add mod ord modGraphic">
          <ac:chgData name="Wind-Larsen, Taus (SGRE OF TE NAC TD SYC)" userId="909f4c56-f0bd-48e2-b5e6-c85fd07560b7" providerId="ADAL" clId="{CAC997D2-2045-4FBD-88AA-2930340D2AF4}" dt="2022-02-11T14:53:02.921" v="36659"/>
          <ac:graphicFrameMkLst>
            <pc:docMk/>
            <pc:sldMk cId="1209066160" sldId="314"/>
            <ac:graphicFrameMk id="8" creationId="{E3F447E8-264A-4068-A581-73D9C5771EB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22.554" v="19254"/>
          <ac:graphicFrameMkLst>
            <pc:docMk/>
            <pc:sldMk cId="1209066160" sldId="314"/>
            <ac:graphicFrameMk id="36" creationId="{C897FAF5-A880-4A93-97D1-8C879B18885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0.654" v="19380"/>
          <ac:graphicFrameMkLst>
            <pc:docMk/>
            <pc:sldMk cId="1209066160" sldId="314"/>
            <ac:graphicFrameMk id="39" creationId="{3116D2C2-90E7-47AE-809F-1CA24EED7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4.751" v="19810"/>
          <ac:graphicFrameMkLst>
            <pc:docMk/>
            <pc:sldMk cId="1209066160" sldId="314"/>
            <ac:graphicFrameMk id="40" creationId="{B3F4F09A-DC59-407E-87FA-237D36DC2FC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37.901" v="19942"/>
          <ac:graphicFrameMkLst>
            <pc:docMk/>
            <pc:sldMk cId="1209066160" sldId="314"/>
            <ac:graphicFrameMk id="54" creationId="{54EEDC25-B52A-4029-81C2-4AB1691C421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46.525" v="20050"/>
          <ac:graphicFrameMkLst>
            <pc:docMk/>
            <pc:sldMk cId="1209066160" sldId="314"/>
            <ac:graphicFrameMk id="55" creationId="{C022AD01-A3D6-4E03-849B-9674486B7B5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2:31:46.466" v="18318" actId="478"/>
          <ac:graphicFrameMkLst>
            <pc:docMk/>
            <pc:sldMk cId="1209066160" sldId="314"/>
            <ac:graphicFrameMk id="56" creationId="{1E443AE1-BFC8-4757-A448-5326EF008DE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2.148" v="20145"/>
          <ac:graphicFrameMkLst>
            <pc:docMk/>
            <pc:sldMk cId="1209066160" sldId="314"/>
            <ac:graphicFrameMk id="58" creationId="{93AD958D-3CAE-4B10-9A98-65D42FC2073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2:54.882" v="20242"/>
          <ac:graphicFrameMkLst>
            <pc:docMk/>
            <pc:sldMk cId="1209066160" sldId="314"/>
            <ac:graphicFrameMk id="60" creationId="{56141F9A-2FC1-4512-8227-03697200AED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08.106" v="20406"/>
          <ac:graphicFrameMkLst>
            <pc:docMk/>
            <pc:sldMk cId="1209066160" sldId="314"/>
            <ac:graphicFrameMk id="62" creationId="{D31FFCB1-7519-4922-A1AC-3D831F46C3A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2.156" v="20570"/>
          <ac:graphicFrameMkLst>
            <pc:docMk/>
            <pc:sldMk cId="1209066160" sldId="314"/>
            <ac:graphicFrameMk id="64" creationId="{CD167BC5-892F-494C-97A7-9929C217281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16.576" v="20736"/>
          <ac:graphicFrameMkLst>
            <pc:docMk/>
            <pc:sldMk cId="1209066160" sldId="314"/>
            <ac:graphicFrameMk id="66" creationId="{9959E02A-9074-46AB-A706-C3A1E1DAC8F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0.797" v="20848"/>
          <ac:graphicFrameMkLst>
            <pc:docMk/>
            <pc:sldMk cId="1209066160" sldId="314"/>
            <ac:graphicFrameMk id="68" creationId="{2F655254-64F4-4407-A68F-A8D012E9D88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33.862" v="20959"/>
          <ac:graphicFrameMkLst>
            <pc:docMk/>
            <pc:sldMk cId="1209066160" sldId="314"/>
            <ac:graphicFrameMk id="70" creationId="{84AF67BC-B75C-4015-A9EE-E72E37D81B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1.874" v="21011"/>
          <ac:graphicFrameMkLst>
            <pc:docMk/>
            <pc:sldMk cId="1209066160" sldId="314"/>
            <ac:graphicFrameMk id="73" creationId="{CF31B8F7-6CE3-45CB-A4B5-C24C7BFC89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3.907" v="21059"/>
          <ac:graphicFrameMkLst>
            <pc:docMk/>
            <pc:sldMk cId="1209066160" sldId="314"/>
            <ac:graphicFrameMk id="74" creationId="{0A46E8F0-E146-4DC3-BC5D-8C135D9237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49.620" v="21123"/>
          <ac:graphicFrameMkLst>
            <pc:docMk/>
            <pc:sldMk cId="1209066160" sldId="314"/>
            <ac:graphicFrameMk id="75" creationId="{D68C033C-4014-42D3-ABE2-E14BA81508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3:52.420" v="21187"/>
          <ac:graphicFrameMkLst>
            <pc:docMk/>
            <pc:sldMk cId="1209066160" sldId="314"/>
            <ac:graphicFrameMk id="76" creationId="{232E4BC4-1178-449F-8C8F-00F88DE1B8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10.363" v="21384"/>
          <ac:graphicFrameMkLst>
            <pc:docMk/>
            <pc:sldMk cId="1209066160" sldId="314"/>
            <ac:graphicFrameMk id="77" creationId="{2B25647D-0F97-494F-8B4D-AB75BC26A7E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21.830" v="21494"/>
          <ac:graphicFrameMkLst>
            <pc:docMk/>
            <pc:sldMk cId="1209066160" sldId="314"/>
            <ac:graphicFrameMk id="83" creationId="{A40AD56F-1E35-491A-A05C-E9E81F4F485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4:38.344" v="21584"/>
          <ac:graphicFrameMkLst>
            <pc:docMk/>
            <pc:sldMk cId="1209066160" sldId="314"/>
            <ac:graphicFrameMk id="85" creationId="{7887D514-BDAC-42DF-A73F-9034DD4C6B0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0.832" v="21733"/>
          <ac:graphicFrameMkLst>
            <pc:docMk/>
            <pc:sldMk cId="1209066160" sldId="314"/>
            <ac:graphicFrameMk id="86" creationId="{D3A5C362-6036-483E-9DEE-5ABBD83AD58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5:54.667" v="21828"/>
          <ac:graphicFrameMkLst>
            <pc:docMk/>
            <pc:sldMk cId="1209066160" sldId="314"/>
            <ac:graphicFrameMk id="89" creationId="{A4B57C95-6327-4896-B3D8-CA620FF1451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6:06.927" v="21939"/>
          <ac:graphicFrameMkLst>
            <pc:docMk/>
            <pc:sldMk cId="1209066160" sldId="314"/>
            <ac:graphicFrameMk id="91" creationId="{FA5999EB-D476-4F05-B1E1-887AF08914C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31.110" v="29280"/>
          <ac:graphicFrameMkLst>
            <pc:docMk/>
            <pc:sldMk cId="1209066160" sldId="314"/>
            <ac:graphicFrameMk id="92" creationId="{52D9430C-08FF-4BCD-9EDD-46B1EC0A1AEC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6:39.831" v="23641"/>
          <ac:graphicFrameMkLst>
            <pc:docMk/>
            <pc:sldMk cId="1209066160" sldId="314"/>
            <ac:graphicFrameMk id="105" creationId="{C137CF0A-BD11-4E36-89A5-FCC9F7CC49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4.234" v="29664"/>
          <ac:graphicFrameMkLst>
            <pc:docMk/>
            <pc:sldMk cId="1209066160" sldId="314"/>
            <ac:graphicFrameMk id="112" creationId="{36189C85-6030-48DD-857E-93F6E7A2F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7.457" v="28148"/>
          <ac:graphicFrameMkLst>
            <pc:docMk/>
            <pc:sldMk cId="1209066160" sldId="314"/>
            <ac:graphicFrameMk id="113" creationId="{F265DABF-B68B-4B46-A68D-E69E9B573C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2.396" v="28125"/>
          <ac:graphicFrameMkLst>
            <pc:docMk/>
            <pc:sldMk cId="1209066160" sldId="314"/>
            <ac:graphicFrameMk id="116" creationId="{799F17A6-6A1E-4D3C-AACB-668967E10AC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31.325" v="28022"/>
          <ac:graphicFrameMkLst>
            <pc:docMk/>
            <pc:sldMk cId="1209066160" sldId="314"/>
            <ac:graphicFrameMk id="122" creationId="{ECDE5BE6-D0BD-49C7-B326-1ED26F60AA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8:29.765" v="27684"/>
          <ac:graphicFrameMkLst>
            <pc:docMk/>
            <pc:sldMk cId="1209066160" sldId="314"/>
            <ac:graphicFrameMk id="136" creationId="{6A87314C-11FF-43F3-9733-75FC1684B17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38:28.500" v="26984"/>
          <ac:graphicFrameMkLst>
            <pc:docMk/>
            <pc:sldMk cId="1209066160" sldId="314"/>
            <ac:graphicFrameMk id="143" creationId="{1847D280-9CF8-4EB8-98D5-C0A90297AE3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5.173" v="29735"/>
          <ac:graphicFrameMkLst>
            <pc:docMk/>
            <pc:sldMk cId="1209066160" sldId="314"/>
            <ac:graphicFrameMk id="147" creationId="{65198AE7-2C07-4376-8AED-B8847F8AD09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39:48.006" v="29919"/>
          <ac:graphicFrameMkLst>
            <pc:docMk/>
            <pc:sldMk cId="1209066160" sldId="314"/>
            <ac:graphicFrameMk id="148" creationId="{30F699E1-2A50-4E40-A745-FA08106820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09.057" v="30078"/>
          <ac:graphicFrameMkLst>
            <pc:docMk/>
            <pc:sldMk cId="1209066160" sldId="314"/>
            <ac:graphicFrameMk id="150" creationId="{8A9DB4BC-F640-4ED2-90C3-DB1886CBD86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28.786" v="30138"/>
          <ac:graphicFrameMkLst>
            <pc:docMk/>
            <pc:sldMk cId="1209066160" sldId="314"/>
            <ac:graphicFrameMk id="153" creationId="{BFC4ACAE-8BB9-46A6-8DB2-7E1C27BA23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0:43.325" v="30194"/>
          <ac:graphicFrameMkLst>
            <pc:docMk/>
            <pc:sldMk cId="1209066160" sldId="314"/>
            <ac:graphicFrameMk id="154" creationId="{0F1C605E-CD63-415E-B707-85BA3BE2F8A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10.558" v="30823"/>
          <ac:graphicFrameMkLst>
            <pc:docMk/>
            <pc:sldMk cId="1209066160" sldId="314"/>
            <ac:graphicFrameMk id="155" creationId="{3C24C1D7-2E32-45AA-9BA5-B80B386440C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2:41:02.949" v="30673"/>
          <ac:graphicFrameMkLst>
            <pc:docMk/>
            <pc:sldMk cId="1209066160" sldId="314"/>
            <ac:graphicFrameMk id="163" creationId="{5A991D42-1E9A-4B3E-91FF-FA1D9118B2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0.214" v="30881"/>
          <ac:graphicFrameMkLst>
            <pc:docMk/>
            <pc:sldMk cId="1209066160" sldId="314"/>
            <ac:graphicFrameMk id="165" creationId="{E24CBB68-0854-4F42-8CED-8E6D124AEF6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26.905" v="30940"/>
          <ac:graphicFrameMkLst>
            <pc:docMk/>
            <pc:sldMk cId="1209066160" sldId="314"/>
            <ac:graphicFrameMk id="166" creationId="{7B73FA68-EAE8-45A7-AA05-F4FC4A7241C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2.721" v="31002"/>
          <ac:graphicFrameMkLst>
            <pc:docMk/>
            <pc:sldMk cId="1209066160" sldId="314"/>
            <ac:graphicFrameMk id="167" creationId="{56153AF0-9CD2-4567-A557-8D6C413A68C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4.230" v="31066"/>
          <ac:graphicFrameMkLst>
            <pc:docMk/>
            <pc:sldMk cId="1209066160" sldId="314"/>
            <ac:graphicFrameMk id="168" creationId="{057F3688-09A9-4840-BE76-F07786F5D36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5.066" v="31125"/>
          <ac:graphicFrameMkLst>
            <pc:docMk/>
            <pc:sldMk cId="1209066160" sldId="314"/>
            <ac:graphicFrameMk id="169" creationId="{4B10C688-E799-4A8E-84F1-6175B29FD09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6.105" v="31192"/>
          <ac:graphicFrameMkLst>
            <pc:docMk/>
            <pc:sldMk cId="1209066160" sldId="314"/>
            <ac:graphicFrameMk id="170" creationId="{6B982944-9472-44ED-A964-0EF0402EF91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1:47.617" v="31249"/>
          <ac:graphicFrameMkLst>
            <pc:docMk/>
            <pc:sldMk cId="1209066160" sldId="314"/>
            <ac:graphicFrameMk id="171" creationId="{F780908E-977B-4080-9AEB-E8391F0898E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05.818" v="31303"/>
          <ac:graphicFrameMkLst>
            <pc:docMk/>
            <pc:sldMk cId="1209066160" sldId="314"/>
            <ac:graphicFrameMk id="172" creationId="{6C598F8E-0DFC-4FA1-A842-34A315AA75F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19.760" v="31357"/>
          <ac:graphicFrameMkLst>
            <pc:docMk/>
            <pc:sldMk cId="1209066160" sldId="314"/>
            <ac:graphicFrameMk id="173" creationId="{65F473C7-874A-4E1B-8379-665F691DF7E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29.894" v="31512"/>
          <ac:graphicFrameMkLst>
            <pc:docMk/>
            <pc:sldMk cId="1209066160" sldId="314"/>
            <ac:graphicFrameMk id="174" creationId="{65FBE99E-63A9-459A-9C16-FDB7905EF88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33.733" v="31573"/>
          <ac:graphicFrameMkLst>
            <pc:docMk/>
            <pc:sldMk cId="1209066160" sldId="314"/>
            <ac:graphicFrameMk id="177" creationId="{6EBBC0C4-3AEC-4D07-A17E-B985F92148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1.521" v="31674"/>
          <ac:graphicFrameMkLst>
            <pc:docMk/>
            <pc:sldMk cId="1209066160" sldId="314"/>
            <ac:graphicFrameMk id="178" creationId="{C8984B39-F9A3-4BBB-8C05-5A3A7D39516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47.484" v="31838"/>
          <ac:graphicFrameMkLst>
            <pc:docMk/>
            <pc:sldMk cId="1209066160" sldId="314"/>
            <ac:graphicFrameMk id="180" creationId="{F04D66B2-1003-4889-AE06-88109CF48F61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2.409" v="31901"/>
          <ac:graphicFrameMkLst>
            <pc:docMk/>
            <pc:sldMk cId="1209066160" sldId="314"/>
            <ac:graphicFrameMk id="183" creationId="{0E941ED2-CD95-4EA5-8975-93908897F44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4.311" v="32066"/>
          <ac:graphicFrameMkLst>
            <pc:docMk/>
            <pc:sldMk cId="1209066160" sldId="314"/>
            <ac:graphicFrameMk id="184" creationId="{759FFAD5-CBCA-463E-8430-94A48661E94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5.586" v="32126"/>
          <ac:graphicFrameMkLst>
            <pc:docMk/>
            <pc:sldMk cId="1209066160" sldId="314"/>
            <ac:graphicFrameMk id="187" creationId="{6AA8E180-F904-40F3-AD8A-3CEE2FD473A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6.764" v="32187"/>
          <ac:graphicFrameMkLst>
            <pc:docMk/>
            <pc:sldMk cId="1209066160" sldId="314"/>
            <ac:graphicFrameMk id="188" creationId="{2C91FF6B-2FC1-4C45-86B1-6215812A867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2:59.555" v="32352"/>
          <ac:graphicFrameMkLst>
            <pc:docMk/>
            <pc:sldMk cId="1209066160" sldId="314"/>
            <ac:graphicFrameMk id="189" creationId="{A1C222ED-CFD8-4581-A102-10796A4306C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0.532" v="32415"/>
          <ac:graphicFrameMkLst>
            <pc:docMk/>
            <pc:sldMk cId="1209066160" sldId="314"/>
            <ac:graphicFrameMk id="192" creationId="{2AFC554E-AC15-48E5-AC27-E2BC349308D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3.500" v="32580"/>
          <ac:graphicFrameMkLst>
            <pc:docMk/>
            <pc:sldMk cId="1209066160" sldId="314"/>
            <ac:graphicFrameMk id="193" creationId="{796BD0A6-7E17-45DE-A9C0-B4F4A34088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4.367" v="32643"/>
          <ac:graphicFrameMkLst>
            <pc:docMk/>
            <pc:sldMk cId="1209066160" sldId="314"/>
            <ac:graphicFrameMk id="196" creationId="{FA2D9583-2077-44C6-AEC3-794F8A78428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8.098" v="32808"/>
          <ac:graphicFrameMkLst>
            <pc:docMk/>
            <pc:sldMk cId="1209066160" sldId="314"/>
            <ac:graphicFrameMk id="197" creationId="{9D96204C-F643-4A1A-AF1F-CE1EB45E3E0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09.033" v="32871"/>
          <ac:graphicFrameMkLst>
            <pc:docMk/>
            <pc:sldMk cId="1209066160" sldId="314"/>
            <ac:graphicFrameMk id="200" creationId="{76E28499-77EF-4C6E-84CB-6DC6B862884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11.345" v="32930"/>
          <ac:graphicFrameMkLst>
            <pc:docMk/>
            <pc:sldMk cId="1209066160" sldId="314"/>
            <ac:graphicFrameMk id="201" creationId="{4717A4B4-B39C-416A-9CE2-F3CB6AE006B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2:43:39.677" v="33035"/>
          <ac:graphicFrameMkLst>
            <pc:docMk/>
            <pc:sldMk cId="1209066160" sldId="314"/>
            <ac:graphicFrameMk id="202" creationId="{4C663E9B-6533-42FB-98C9-73035EE961B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2.464" v="36332"/>
          <ac:graphicFrameMkLst>
            <pc:docMk/>
            <pc:sldMk cId="1209066160" sldId="314"/>
            <ac:graphicFrameMk id="204" creationId="{F08A77E8-A4EB-4AB1-B1D7-596770C008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8.471" v="36400"/>
          <ac:graphicFrameMkLst>
            <pc:docMk/>
            <pc:sldMk cId="1209066160" sldId="314"/>
            <ac:graphicFrameMk id="205" creationId="{F788C315-51B9-4418-82B4-D8785483AB5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2:59.306" v="36459"/>
          <ac:graphicFrameMkLst>
            <pc:docMk/>
            <pc:sldMk cId="1209066160" sldId="314"/>
            <ac:graphicFrameMk id="206" creationId="{804B41DB-DAC8-4FF3-BF0F-DCB6EF62FC7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0.053" v="36518"/>
          <ac:graphicFrameMkLst>
            <pc:docMk/>
            <pc:sldMk cId="1209066160" sldId="314"/>
            <ac:graphicFrameMk id="207" creationId="{4A6BE2B9-2E68-4C40-8BDA-5D5A5B0A81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1.561" v="36579"/>
          <ac:graphicFrameMkLst>
            <pc:docMk/>
            <pc:sldMk cId="1209066160" sldId="314"/>
            <ac:graphicFrameMk id="208" creationId="{638D7CD7-BE70-4E66-80BB-CB0C45BA74D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4:53:02.844" v="36638"/>
          <ac:graphicFrameMkLst>
            <pc:docMk/>
            <pc:sldMk cId="1209066160" sldId="314"/>
            <ac:graphicFrameMk id="209" creationId="{812EB7DC-0E5C-4F73-BC44-72422E70E7E8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4:53:02.922" v="36660"/>
          <ac:graphicFrameMkLst>
            <pc:docMk/>
            <pc:sldMk cId="1209066160" sldId="314"/>
            <ac:graphicFrameMk id="210" creationId="{1F9F895A-560D-4311-B0EC-E52F8532BF8B}"/>
          </ac:graphicFrameMkLst>
        </pc:graphicFrameChg>
        <pc:picChg chg="del">
          <ac:chgData name="Wind-Larsen, Taus (SGRE OF TE NAC TD SYC)" userId="909f4c56-f0bd-48e2-b5e6-c85fd07560b7" providerId="ADAL" clId="{CAC997D2-2045-4FBD-88AA-2930340D2AF4}" dt="2022-02-11T10:54:21.641" v="18284" actId="478"/>
          <ac:picMkLst>
            <pc:docMk/>
            <pc:sldMk cId="1209066160" sldId="314"/>
            <ac:picMk id="11" creationId="{9DDA237C-D920-4F87-9BB7-5E8793335B57}"/>
          </ac:picMkLst>
        </pc:picChg>
        <pc:cxnChg chg="del mod">
          <ac:chgData name="Wind-Larsen, Taus (SGRE OF TE NAC TD SYC)" userId="909f4c56-f0bd-48e2-b5e6-c85fd07560b7" providerId="ADAL" clId="{CAC997D2-2045-4FBD-88AA-2930340D2AF4}" dt="2022-02-11T11:10:25.880" v="18314" actId="478"/>
          <ac:cxnSpMkLst>
            <pc:docMk/>
            <pc:sldMk cId="1209066160" sldId="314"/>
            <ac:cxnSpMk id="49" creationId="{54DDB341-378D-460C-80AD-741BD92E4A27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1.771" v="18311" actId="478"/>
          <ac:cxnSpMkLst>
            <pc:docMk/>
            <pc:sldMk cId="1209066160" sldId="314"/>
            <ac:cxnSpMk id="50" creationId="{BA97824F-D3E2-467D-94F3-B16E180CC27A}"/>
          </ac:cxnSpMkLst>
        </pc:cxnChg>
        <pc:cxnChg chg="del mod">
          <ac:chgData name="Wind-Larsen, Taus (SGRE OF TE NAC TD SYC)" userId="909f4c56-f0bd-48e2-b5e6-c85fd07560b7" providerId="ADAL" clId="{CAC997D2-2045-4FBD-88AA-2930340D2AF4}" dt="2022-02-11T11:10:28.045" v="18316" actId="478"/>
          <ac:cxnSpMkLst>
            <pc:docMk/>
            <pc:sldMk cId="1209066160" sldId="314"/>
            <ac:cxnSpMk id="51" creationId="{44DE44A3-D546-4083-ACA0-75CE4439785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2" v="36662"/>
          <ac:cxnSpMkLst>
            <pc:docMk/>
            <pc:sldMk cId="1209066160" sldId="314"/>
            <ac:cxnSpMk id="80" creationId="{2032FEFB-C5FB-42FB-BAEA-44B4B7259EF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5" v="36664"/>
          <ac:cxnSpMkLst>
            <pc:docMk/>
            <pc:sldMk cId="1209066160" sldId="314"/>
            <ac:cxnSpMk id="81" creationId="{7021908F-59F2-4B5E-8BF9-6817B069FB09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4:53:02.926" v="36666"/>
          <ac:cxnSpMkLst>
            <pc:docMk/>
            <pc:sldMk cId="1209066160" sldId="314"/>
            <ac:cxnSpMk id="82" creationId="{259E0AE8-F58F-4CC5-9FC4-712F6CEA1C13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38:28.500" v="26984"/>
          <ac:cxnSpMkLst>
            <pc:docMk/>
            <pc:sldMk cId="1209066160" sldId="314"/>
            <ac:cxnSpMk id="144" creationId="{7B4C4C06-F4F9-4141-AE7F-A4267BC91DD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8" creationId="{42BF5FF2-A9BA-4CA2-9751-43CDC655980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59" creationId="{3578E2C3-76D0-4A75-8A9E-16CA2186A3FA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0" creationId="{F8FE1E24-BB34-473C-9EF8-ACCA60BA28C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1" creationId="{A1531AEE-B607-4CD3-8C9D-2B70E46DE334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2:41:02.949" v="30673"/>
          <ac:cxnSpMkLst>
            <pc:docMk/>
            <pc:sldMk cId="1209066160" sldId="314"/>
            <ac:cxnSpMk id="162" creationId="{D2F718A8-5E83-4817-8DAA-BDCB949BE5A2}"/>
          </ac:cxnSpMkLst>
        </pc:cxnChg>
      </pc:sldChg>
      <pc:sldChg chg="modSp mod ord">
        <pc:chgData name="Wind-Larsen, Taus (SGRE OF TE NAC TD SYC)" userId="909f4c56-f0bd-48e2-b5e6-c85fd07560b7" providerId="ADAL" clId="{CAC997D2-2045-4FBD-88AA-2930340D2AF4}" dt="2022-02-11T13:57:48.150" v="35950" actId="20577"/>
        <pc:sldMkLst>
          <pc:docMk/>
          <pc:sldMk cId="100653347" sldId="315"/>
        </pc:sldMkLst>
        <pc:spChg chg="mod">
          <ac:chgData name="Wind-Larsen, Taus (SGRE OF TE NAC TD SYC)" userId="909f4c56-f0bd-48e2-b5e6-c85fd07560b7" providerId="ADAL" clId="{CAC997D2-2045-4FBD-88AA-2930340D2AF4}" dt="2022-02-11T13:57:48.150" v="35950" actId="20577"/>
          <ac:spMkLst>
            <pc:docMk/>
            <pc:sldMk cId="100653347" sldId="315"/>
            <ac:spMk id="4" creationId="{A2CA8F2D-3D41-43EB-9407-356EAAB1F6A4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6:30.421" v="438" actId="47"/>
        <pc:sldMkLst>
          <pc:docMk/>
          <pc:sldMk cId="2536122990" sldId="316"/>
        </pc:sldMkLst>
      </pc:sldChg>
      <pc:sldChg chg="del">
        <pc:chgData name="Wind-Larsen, Taus (SGRE OF TE NAC TD SYC)" userId="909f4c56-f0bd-48e2-b5e6-c85fd07560b7" providerId="ADAL" clId="{CAC997D2-2045-4FBD-88AA-2930340D2AF4}" dt="2022-02-11T08:36:26.173" v="437" actId="47"/>
        <pc:sldMkLst>
          <pc:docMk/>
          <pc:sldMk cId="222139734" sldId="317"/>
        </pc:sldMkLst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577488301" sldId="318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2" creationId="{781BBDC9-2DC6-4959-AC3D-49A5DCB05DA7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23" creationId="{08452CCF-4A27-488A-AAF4-424933CFC925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577488301" sldId="318"/>
            <ac:spMk id="35" creationId="{4B74BB55-8517-4CFE-9389-81D0E6F81F00}"/>
          </ac:spMkLst>
        </pc:s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21" creationId="{6CC7770B-E4E1-42D6-9437-DAA4A3A9E659}"/>
          </ac:grpSpMkLst>
        </pc:grpChg>
        <pc:grpChg chg="add del">
          <ac:chgData name="Wind-Larsen, Taus (SGRE OF TE NAC TD SYC)" userId="909f4c56-f0bd-48e2-b5e6-c85fd07560b7" providerId="ADAL" clId="{CAC997D2-2045-4FBD-88AA-2930340D2AF4}" dt="2022-02-11T13:47:25.357" v="34909"/>
          <ac:grpSpMkLst>
            <pc:docMk/>
            <pc:sldMk cId="577488301" sldId="318"/>
            <ac:grpSpMk id="37" creationId="{543190CD-45FC-4DE0-B596-17D4DE53E972}"/>
          </ac:grpSpMkLst>
        </pc:grpChg>
      </pc:sldChg>
      <pc:sldChg chg="addSp delSp add del setBg delDesignElem">
        <pc:chgData name="Wind-Larsen, Taus (SGRE OF TE NAC TD SYC)" userId="909f4c56-f0bd-48e2-b5e6-c85fd07560b7" providerId="ADAL" clId="{CAC997D2-2045-4FBD-88AA-2930340D2AF4}" dt="2022-02-11T13:47:25.357" v="34909"/>
        <pc:sldMkLst>
          <pc:docMk/>
          <pc:sldMk cId="451751657" sldId="319"/>
        </pc:sldMkLst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4" creationId="{9A212F8F-D812-4A16-BE82-F3500DE32174}"/>
          </ac:spMkLst>
        </pc:spChg>
        <pc:spChg chg="add del">
          <ac:chgData name="Wind-Larsen, Taus (SGRE OF TE NAC TD SYC)" userId="909f4c56-f0bd-48e2-b5e6-c85fd07560b7" providerId="ADAL" clId="{CAC997D2-2045-4FBD-88AA-2930340D2AF4}" dt="2022-02-11T13:47:25.357" v="34909"/>
          <ac:spMkLst>
            <pc:docMk/>
            <pc:sldMk cId="451751657" sldId="319"/>
            <ac:spMk id="5" creationId="{D2CF1D1B-04ED-443D-A9FE-68BF8859BDD6}"/>
          </ac:spMkLst>
        </pc:spChg>
      </pc:sldChg>
      <pc:sldChg chg="del">
        <pc:chgData name="Wind-Larsen, Taus (SGRE OF TE NAC TD SYC)" userId="909f4c56-f0bd-48e2-b5e6-c85fd07560b7" providerId="ADAL" clId="{CAC997D2-2045-4FBD-88AA-2930340D2AF4}" dt="2022-02-11T08:37:50.685" v="448" actId="47"/>
        <pc:sldMkLst>
          <pc:docMk/>
          <pc:sldMk cId="1610040041" sldId="320"/>
        </pc:sldMkLst>
      </pc:sldChg>
      <pc:sldChg chg="modSp add del mod">
        <pc:chgData name="Wind-Larsen, Taus (SGRE OF TE NAC TD SYC)" userId="909f4c56-f0bd-48e2-b5e6-c85fd07560b7" providerId="ADAL" clId="{CAC997D2-2045-4FBD-88AA-2930340D2AF4}" dt="2022-02-11T09:58:10.055" v="1054" actId="47"/>
        <pc:sldMkLst>
          <pc:docMk/>
          <pc:sldMk cId="927270867" sldId="321"/>
        </pc:sldMkLst>
        <pc:spChg chg="mod">
          <ac:chgData name="Wind-Larsen, Taus (SGRE OF TE NAC TD SYC)" userId="909f4c56-f0bd-48e2-b5e6-c85fd07560b7" providerId="ADAL" clId="{CAC997D2-2045-4FBD-88AA-2930340D2AF4}" dt="2022-02-11T08:30:09.277" v="307" actId="20577"/>
          <ac:spMkLst>
            <pc:docMk/>
            <pc:sldMk cId="927270867" sldId="321"/>
            <ac:spMk id="9" creationId="{8316C5AD-B4DA-4900-89A4-B3DE30EFEBFE}"/>
          </ac:spMkLst>
        </pc:spChg>
      </pc:sldChg>
      <pc:sldChg chg="new add del">
        <pc:chgData name="Wind-Larsen, Taus (SGRE OF TE NAC TD SYC)" userId="909f4c56-f0bd-48e2-b5e6-c85fd07560b7" providerId="ADAL" clId="{CAC997D2-2045-4FBD-88AA-2930340D2AF4}" dt="2022-02-11T08:27:17.652" v="240" actId="47"/>
        <pc:sldMkLst>
          <pc:docMk/>
          <pc:sldMk cId="1794614940" sldId="321"/>
        </pc:sldMkLst>
      </pc:sldChg>
      <pc:sldChg chg="addSp delSp modSp add mod ord">
        <pc:chgData name="Wind-Larsen, Taus (SGRE OF TE NAC TD SYC)" userId="909f4c56-f0bd-48e2-b5e6-c85fd07560b7" providerId="ADAL" clId="{CAC997D2-2045-4FBD-88AA-2930340D2AF4}" dt="2022-02-11T13:28:04.579" v="34254" actId="20577"/>
        <pc:sldMkLst>
          <pc:docMk/>
          <pc:sldMk cId="558325371" sldId="322"/>
        </pc:sldMkLst>
        <pc:spChg chg="mod">
          <ac:chgData name="Wind-Larsen, Taus (SGRE OF TE NAC TD SYC)" userId="909f4c56-f0bd-48e2-b5e6-c85fd07560b7" providerId="ADAL" clId="{CAC997D2-2045-4FBD-88AA-2930340D2AF4}" dt="2022-02-11T13:28:02.244" v="34211" actId="948"/>
          <ac:spMkLst>
            <pc:docMk/>
            <pc:sldMk cId="558325371" sldId="322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1.014" v="34203"/>
          <ac:spMkLst>
            <pc:docMk/>
            <pc:sldMk cId="558325371" sldId="322"/>
            <ac:spMk id="3" creationId="{B81D3E31-681E-4A67-88F0-4285A353E426}"/>
          </ac:spMkLst>
        </pc:spChg>
        <pc:spChg chg="mod">
          <ac:chgData name="Wind-Larsen, Taus (SGRE OF TE NAC TD SYC)" userId="909f4c56-f0bd-48e2-b5e6-c85fd07560b7" providerId="ADAL" clId="{CAC997D2-2045-4FBD-88AA-2930340D2AF4}" dt="2022-02-11T13:28:04.579" v="34254" actId="20577"/>
          <ac:spMkLst>
            <pc:docMk/>
            <pc:sldMk cId="558325371" sldId="322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8:02.336" v="34250"/>
          <ac:spMkLst>
            <pc:docMk/>
            <pc:sldMk cId="558325371" sldId="322"/>
            <ac:spMk id="6" creationId="{F3D4444E-E089-49B8-9ED8-601E5386611E}"/>
          </ac:spMkLst>
        </pc:spChg>
        <pc:spChg chg="del">
          <ac:chgData name="Wind-Larsen, Taus (SGRE OF TE NAC TD SYC)" userId="909f4c56-f0bd-48e2-b5e6-c85fd07560b7" providerId="ADAL" clId="{CAC997D2-2045-4FBD-88AA-2930340D2AF4}" dt="2022-02-11T08:34:25.840" v="397" actId="478"/>
          <ac:spMkLst>
            <pc:docMk/>
            <pc:sldMk cId="558325371" sldId="322"/>
            <ac:spMk id="9" creationId="{9E13D2E9-3448-4B05-A060-5754F247B524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8:02.339" v="34252"/>
          <ac:graphicFrameMkLst>
            <pc:docMk/>
            <pc:sldMk cId="558325371" sldId="322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33:23.375" v="34552"/>
        <pc:sldMkLst>
          <pc:docMk/>
          <pc:sldMk cId="4087205575" sldId="323"/>
        </pc:sldMkLst>
        <pc:spChg chg="mod">
          <ac:chgData name="Wind-Larsen, Taus (SGRE OF TE NAC TD SYC)" userId="909f4c56-f0bd-48e2-b5e6-c85fd07560b7" providerId="ADAL" clId="{CAC997D2-2045-4FBD-88AA-2930340D2AF4}" dt="2022-02-11T13:33:23.227" v="34511" actId="948"/>
          <ac:spMkLst>
            <pc:docMk/>
            <pc:sldMk cId="4087205575" sldId="323"/>
            <ac:spMk id="2" creationId="{54329A1D-5733-4D01-B538-36178393AF2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5.800" v="34314"/>
          <ac:spMkLst>
            <pc:docMk/>
            <pc:sldMk cId="4087205575" sldId="323"/>
            <ac:spMk id="3" creationId="{F04D8E1B-81A8-47CE-8600-C0E1BFD4D8ED}"/>
          </ac:spMkLst>
        </pc:spChg>
        <pc:spChg chg="mod">
          <ac:chgData name="Wind-Larsen, Taus (SGRE OF TE NAC TD SYC)" userId="909f4c56-f0bd-48e2-b5e6-c85fd07560b7" providerId="ADAL" clId="{CAC997D2-2045-4FBD-88AA-2930340D2AF4}" dt="2022-02-11T13:33:10.211" v="34264" actId="20577"/>
          <ac:spMkLst>
            <pc:docMk/>
            <pc:sldMk cId="4087205575" sldId="323"/>
            <ac:spMk id="4" creationId="{0AB29B1F-D274-4F54-A777-B1BCA3CBCEE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7.259" v="34360"/>
          <ac:spMkLst>
            <pc:docMk/>
            <pc:sldMk cId="4087205575" sldId="323"/>
            <ac:spMk id="6" creationId="{2420D1F7-3E5F-4FBD-8A64-A35E76FDF2A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8.973" v="34411"/>
          <ac:spMkLst>
            <pc:docMk/>
            <pc:sldMk cId="4087205575" sldId="323"/>
            <ac:spMk id="8" creationId="{3C5FDE72-C3E2-4672-92BD-F73A6D6D43EC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19.736" v="34455"/>
          <ac:spMkLst>
            <pc:docMk/>
            <pc:sldMk cId="4087205575" sldId="323"/>
            <ac:spMk id="9" creationId="{3080BAE0-1CD9-4DBE-945D-1BEBBB7C7A9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1.551" v="34502"/>
          <ac:spMkLst>
            <pc:docMk/>
            <pc:sldMk cId="4087205575" sldId="323"/>
            <ac:spMk id="10" creationId="{C9715C9B-B587-4591-AB09-3CFBF2779F6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33:23.375" v="34550"/>
          <ac:spMkLst>
            <pc:docMk/>
            <pc:sldMk cId="4087205575" sldId="323"/>
            <ac:spMk id="11" creationId="{B5B11D21-18CE-4457-B201-2F3A110FC672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33:23.375" v="34552"/>
          <ac:graphicFrameMkLst>
            <pc:docMk/>
            <pc:sldMk cId="4087205575" sldId="323"/>
            <ac:graphicFrameMk id="7" creationId="{C2E1FD7A-6B81-4A2C-A69F-E9E0FBC2131B}"/>
          </ac:graphicFrameMkLst>
        </pc:graphicFrameChg>
      </pc:sldChg>
      <pc:sldChg chg="modSp add del mod">
        <pc:chgData name="Wind-Larsen, Taus (SGRE OF TE NAC TD SYC)" userId="909f4c56-f0bd-48e2-b5e6-c85fd07560b7" providerId="ADAL" clId="{CAC997D2-2045-4FBD-88AA-2930340D2AF4}" dt="2022-02-11T13:33:45.700" v="34554" actId="47"/>
        <pc:sldMkLst>
          <pc:docMk/>
          <pc:sldMk cId="3936505600" sldId="324"/>
        </pc:sldMkLst>
        <pc:spChg chg="mod">
          <ac:chgData name="Wind-Larsen, Taus (SGRE OF TE NAC TD SYC)" userId="909f4c56-f0bd-48e2-b5e6-c85fd07560b7" providerId="ADAL" clId="{CAC997D2-2045-4FBD-88AA-2930340D2AF4}" dt="2022-02-11T08:37:00.141" v="445" actId="113"/>
          <ac:spMkLst>
            <pc:docMk/>
            <pc:sldMk cId="3936505600" sldId="324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26.042" v="34864" actId="47"/>
        <pc:sldMkLst>
          <pc:docMk/>
          <pc:sldMk cId="3380896902" sldId="325"/>
        </pc:sldMkLst>
        <pc:spChg chg="mod">
          <ac:chgData name="Wind-Larsen, Taus (SGRE OF TE NAC TD SYC)" userId="909f4c56-f0bd-48e2-b5e6-c85fd07560b7" providerId="ADAL" clId="{CAC997D2-2045-4FBD-88AA-2930340D2AF4}" dt="2022-02-11T08:38:57.520" v="470" actId="114"/>
          <ac:spMkLst>
            <pc:docMk/>
            <pc:sldMk cId="3380896902" sldId="325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2:08.304" v="34868" actId="47"/>
        <pc:sldMkLst>
          <pc:docMk/>
          <pc:sldMk cId="1105608203" sldId="326"/>
        </pc:sldMkLst>
        <pc:spChg chg="mod">
          <ac:chgData name="Wind-Larsen, Taus (SGRE OF TE NAC TD SYC)" userId="909f4c56-f0bd-48e2-b5e6-c85fd07560b7" providerId="ADAL" clId="{CAC997D2-2045-4FBD-88AA-2930340D2AF4}" dt="2022-02-11T13:41:44.173" v="34867" actId="113"/>
          <ac:spMkLst>
            <pc:docMk/>
            <pc:sldMk cId="1105608203" sldId="326"/>
            <ac:spMk id="9" creationId="{37637F06-2878-4AD0-9DEB-853E9FA19C8F}"/>
          </ac:spMkLst>
        </pc:spChg>
      </pc:sldChg>
      <pc:sldChg chg="modSp add del mod">
        <pc:chgData name="Wind-Larsen, Taus (SGRE OF TE NAC TD SYC)" userId="909f4c56-f0bd-48e2-b5e6-c85fd07560b7" providerId="ADAL" clId="{CAC997D2-2045-4FBD-88AA-2930340D2AF4}" dt="2022-02-11T13:41:30.065" v="34865" actId="47"/>
        <pc:sldMkLst>
          <pc:docMk/>
          <pc:sldMk cId="1992305511" sldId="327"/>
        </pc:sldMkLst>
        <pc:spChg chg="mod">
          <ac:chgData name="Wind-Larsen, Taus (SGRE OF TE NAC TD SYC)" userId="909f4c56-f0bd-48e2-b5e6-c85fd07560b7" providerId="ADAL" clId="{CAC997D2-2045-4FBD-88AA-2930340D2AF4}" dt="2022-02-11T08:46:01.484" v="559" actId="113"/>
          <ac:spMkLst>
            <pc:docMk/>
            <pc:sldMk cId="1992305511" sldId="327"/>
            <ac:spMk id="9" creationId="{37637F06-2878-4AD0-9DEB-853E9FA19C8F}"/>
          </ac:spMkLst>
        </pc:spChg>
      </pc:sldChg>
      <pc:sldChg chg="add del">
        <pc:chgData name="Wind-Larsen, Taus (SGRE OF TE NAC TD SYC)" userId="909f4c56-f0bd-48e2-b5e6-c85fd07560b7" providerId="ADAL" clId="{CAC997D2-2045-4FBD-88AA-2930340D2AF4}" dt="2022-02-11T09:27:20.720" v="935" actId="47"/>
        <pc:sldMkLst>
          <pc:docMk/>
          <pc:sldMk cId="1440746015" sldId="328"/>
        </pc:sldMkLst>
      </pc:sldChg>
      <pc:sldChg chg="modSp add mod">
        <pc:chgData name="Wind-Larsen, Taus (SGRE OF TE NAC TD SYC)" userId="909f4c56-f0bd-48e2-b5e6-c85fd07560b7" providerId="ADAL" clId="{CAC997D2-2045-4FBD-88AA-2930340D2AF4}" dt="2022-02-11T09:26:18.760" v="654" actId="113"/>
        <pc:sldMkLst>
          <pc:docMk/>
          <pc:sldMk cId="1371835148" sldId="329"/>
        </pc:sldMkLst>
        <pc:spChg chg="mod">
          <ac:chgData name="Wind-Larsen, Taus (SGRE OF TE NAC TD SYC)" userId="909f4c56-f0bd-48e2-b5e6-c85fd07560b7" providerId="ADAL" clId="{CAC997D2-2045-4FBD-88AA-2930340D2AF4}" dt="2022-02-11T09:26:18.760" v="654" actId="113"/>
          <ac:spMkLst>
            <pc:docMk/>
            <pc:sldMk cId="1371835148" sldId="329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7:56.557" v="1052" actId="114"/>
        <pc:sldMkLst>
          <pc:docMk/>
          <pc:sldMk cId="3839263946" sldId="330"/>
        </pc:sldMkLst>
        <pc:spChg chg="mod">
          <ac:chgData name="Wind-Larsen, Taus (SGRE OF TE NAC TD SYC)" userId="909f4c56-f0bd-48e2-b5e6-c85fd07560b7" providerId="ADAL" clId="{CAC997D2-2045-4FBD-88AA-2930340D2AF4}" dt="2022-02-11T09:57:56.557" v="1052" actId="114"/>
          <ac:spMkLst>
            <pc:docMk/>
            <pc:sldMk cId="3839263946" sldId="33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5:01:46.686" v="36687" actId="113"/>
        <pc:sldMkLst>
          <pc:docMk/>
          <pc:sldMk cId="4141118460" sldId="331"/>
        </pc:sldMkLst>
        <pc:spChg chg="mod">
          <ac:chgData name="Wind-Larsen, Taus (SGRE OF TE NAC TD SYC)" userId="909f4c56-f0bd-48e2-b5e6-c85fd07560b7" providerId="ADAL" clId="{CAC997D2-2045-4FBD-88AA-2930340D2AF4}" dt="2022-02-11T15:01:46.686" v="36687" actId="113"/>
          <ac:spMkLst>
            <pc:docMk/>
            <pc:sldMk cId="4141118460" sldId="33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09:58:46.163" v="1080" actId="113"/>
        <pc:sldMkLst>
          <pc:docMk/>
          <pc:sldMk cId="2768869850" sldId="332"/>
        </pc:sldMkLst>
        <pc:spChg chg="mod">
          <ac:chgData name="Wind-Larsen, Taus (SGRE OF TE NAC TD SYC)" userId="909f4c56-f0bd-48e2-b5e6-c85fd07560b7" providerId="ADAL" clId="{CAC997D2-2045-4FBD-88AA-2930340D2AF4}" dt="2022-02-11T09:58:46.163" v="1080" actId="113"/>
          <ac:spMkLst>
            <pc:docMk/>
            <pc:sldMk cId="2768869850" sldId="33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0:46.990" v="1152" actId="114"/>
        <pc:sldMkLst>
          <pc:docMk/>
          <pc:sldMk cId="13521793" sldId="333"/>
        </pc:sldMkLst>
        <pc:spChg chg="mod">
          <ac:chgData name="Wind-Larsen, Taus (SGRE OF TE NAC TD SYC)" userId="909f4c56-f0bd-48e2-b5e6-c85fd07560b7" providerId="ADAL" clId="{CAC997D2-2045-4FBD-88AA-2930340D2AF4}" dt="2022-02-11T10:00:46.990" v="1152" actId="114"/>
          <ac:spMkLst>
            <pc:docMk/>
            <pc:sldMk cId="13521793" sldId="333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0:01:54.072" v="1359" actId="14100"/>
        <pc:sldMkLst>
          <pc:docMk/>
          <pc:sldMk cId="1882169009" sldId="334"/>
        </pc:sldMkLst>
        <pc:spChg chg="mod">
          <ac:chgData name="Wind-Larsen, Taus (SGRE OF TE NAC TD SYC)" userId="909f4c56-f0bd-48e2-b5e6-c85fd07560b7" providerId="ADAL" clId="{CAC997D2-2045-4FBD-88AA-2930340D2AF4}" dt="2022-02-11T10:01:54.072" v="1359" actId="14100"/>
          <ac:spMkLst>
            <pc:docMk/>
            <pc:sldMk cId="1882169009" sldId="334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0:01:18.805" v="1325"/>
        <pc:sldMkLst>
          <pc:docMk/>
          <pc:sldMk cId="3047106097" sldId="335"/>
        </pc:sldMkLst>
        <pc:spChg chg="mod">
          <ac:chgData name="Wind-Larsen, Taus (SGRE OF TE NAC TD SYC)" userId="909f4c56-f0bd-48e2-b5e6-c85fd07560b7" providerId="ADAL" clId="{CAC997D2-2045-4FBD-88AA-2930340D2AF4}" dt="2022-02-11T10:01:18.743" v="1284" actId="948"/>
          <ac:spMkLst>
            <pc:docMk/>
            <pc:sldMk cId="3047106097" sldId="335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01:03.426" v="1155" actId="478"/>
          <ac:spMkLst>
            <pc:docMk/>
            <pc:sldMk cId="3047106097" sldId="335"/>
            <ac:spMk id="8" creationId="{A313AF80-BE30-4ACF-A4E7-90D38259DC3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2.479" v="1211"/>
          <ac:spMkLst>
            <pc:docMk/>
            <pc:sldMk cId="3047106097" sldId="335"/>
            <ac:spMk id="9" creationId="{775D17F7-08C9-4272-8C9A-C24B664A51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6.208" v="1271"/>
          <ac:spMkLst>
            <pc:docMk/>
            <pc:sldMk cId="3047106097" sldId="335"/>
            <ac:spMk id="10" creationId="{F57AF430-57C6-497E-8241-66125E274C8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1:18.805" v="1323"/>
          <ac:spMkLst>
            <pc:docMk/>
            <pc:sldMk cId="3047106097" sldId="335"/>
            <ac:spMk id="11" creationId="{59695724-BEF0-4EFF-B0D0-33EBC204E49D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0:01:18.805" v="1325"/>
          <ac:graphicFrameMkLst>
            <pc:docMk/>
            <pc:sldMk cId="3047106097" sldId="335"/>
            <ac:graphicFrameMk id="7" creationId="{C2E1FD7A-6B81-4A2C-A69F-E9E0FBC2131B}"/>
          </ac:graphicFrameMkLst>
        </pc:graphicFrameChg>
      </pc:sldChg>
      <pc:sldChg chg="addSp delSp modSp add mod">
        <pc:chgData name="Wind-Larsen, Taus (SGRE OF TE NAC TD SYC)" userId="909f4c56-f0bd-48e2-b5e6-c85fd07560b7" providerId="ADAL" clId="{CAC997D2-2045-4FBD-88AA-2930340D2AF4}" dt="2022-02-11T13:58:17.038" v="35959"/>
        <pc:sldMkLst>
          <pc:docMk/>
          <pc:sldMk cId="995067089" sldId="336"/>
        </pc:sldMkLst>
        <pc:spChg chg="mod ord">
          <ac:chgData name="Wind-Larsen, Taus (SGRE OF TE NAC TD SYC)" userId="909f4c56-f0bd-48e2-b5e6-c85fd07560b7" providerId="ADAL" clId="{CAC997D2-2045-4FBD-88AA-2930340D2AF4}" dt="2022-02-11T13:58:16.957" v="35955" actId="948"/>
          <ac:spMkLst>
            <pc:docMk/>
            <pc:sldMk cId="995067089" sldId="336"/>
            <ac:spMk id="2" creationId="{5D788ADA-8C37-43AB-89C9-1218A42316CA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9"/>
          <ac:spMkLst>
            <pc:docMk/>
            <pc:sldMk cId="995067089" sldId="336"/>
            <ac:spMk id="3" creationId="{8E0AAC11-3202-46A9-8EB4-8DF0337F24B7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1"/>
          <ac:spMkLst>
            <pc:docMk/>
            <pc:sldMk cId="995067089" sldId="336"/>
            <ac:spMk id="4" creationId="{7B1880A8-F560-4971-93F0-7C14A34CF7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13"/>
          <ac:spMkLst>
            <pc:docMk/>
            <pc:sldMk cId="995067089" sldId="336"/>
            <ac:spMk id="5" creationId="{39258CE2-AABA-4F42-B387-690DFCFFF06C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198" v="16505"/>
          <ac:spMkLst>
            <pc:docMk/>
            <pc:sldMk cId="995067089" sldId="336"/>
            <ac:spMk id="6" creationId="{FB9CFFEC-C97F-4015-BB00-142261497CAB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8"/>
          <ac:spMkLst>
            <pc:docMk/>
            <pc:sldMk cId="995067089" sldId="336"/>
            <ac:spMk id="8" creationId="{187BBAD4-56C8-4FCA-8C7D-82703B0EE0DF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6" v="16527"/>
          <ac:spMkLst>
            <pc:docMk/>
            <pc:sldMk cId="995067089" sldId="336"/>
            <ac:spMk id="9" creationId="{25D0E781-6390-4B97-8D9C-FE343E77ABE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5:02.208" v="16529"/>
          <ac:spMkLst>
            <pc:docMk/>
            <pc:sldMk cId="995067089" sldId="336"/>
            <ac:spMk id="10" creationId="{0012BC62-A0B1-49CB-90F6-A40A22FA506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2:42.678" v="1806"/>
          <ac:spMkLst>
            <pc:docMk/>
            <pc:sldMk cId="995067089" sldId="336"/>
            <ac:spMk id="11" creationId="{0C7FD7ED-CCCF-40CE-81A0-828601173160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37" v="35953"/>
          <ac:spMkLst>
            <pc:docMk/>
            <pc:sldMk cId="995067089" sldId="336"/>
            <ac:spMk id="12" creationId="{8273F8FE-1ECB-4292-8C42-EE6EB0F9119A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3:58:16.981" v="35957"/>
          <ac:spMkLst>
            <pc:docMk/>
            <pc:sldMk cId="995067089" sldId="336"/>
            <ac:spMk id="13" creationId="{D4570FEC-9B18-4156-AC8E-5A2BCB7D44B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06.327" v="2091"/>
          <ac:spMkLst>
            <pc:docMk/>
            <pc:sldMk cId="995067089" sldId="336"/>
            <ac:spMk id="14" creationId="{8B33691B-CF6F-4B03-8697-DC342FF4CAF8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5"/>
          <ac:spMkLst>
            <pc:docMk/>
            <pc:sldMk cId="995067089" sldId="336"/>
            <ac:spMk id="15" creationId="{38D4CA74-0128-4EAA-852F-032BEBB475C9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5:02.208" v="16537"/>
          <ac:spMkLst>
            <pc:docMk/>
            <pc:sldMk cId="995067089" sldId="336"/>
            <ac:spMk id="16" creationId="{9C5816CD-EA28-4CC9-85AE-CDDF685501C3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0"/>
          <ac:spMkLst>
            <pc:docMk/>
            <pc:sldMk cId="995067089" sldId="336"/>
            <ac:spMk id="18" creationId="{038F6196-5CCB-4E07-AA43-C8C585FBCBB5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2"/>
          <ac:spMkLst>
            <pc:docMk/>
            <pc:sldMk cId="995067089" sldId="336"/>
            <ac:spMk id="19" creationId="{5A36E48D-338F-4097-91D0-556E6C4703D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16.284" v="2262"/>
          <ac:spMkLst>
            <pc:docMk/>
            <pc:sldMk cId="995067089" sldId="336"/>
            <ac:spMk id="21" creationId="{F05765AD-4196-47B1-89A6-469AE6F938CD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19.035" v="7129"/>
          <ac:spMkLst>
            <pc:docMk/>
            <pc:sldMk cId="995067089" sldId="336"/>
            <ac:spMk id="22" creationId="{B8AC73B8-369C-442D-B3CF-02B0761F7E92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9:26.289" v="7688"/>
          <ac:spMkLst>
            <pc:docMk/>
            <pc:sldMk cId="995067089" sldId="336"/>
            <ac:spMk id="23" creationId="{BAA3CE16-BDBF-4727-BEEF-E4F6D5B394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2.116" v="2413"/>
          <ac:spMkLst>
            <pc:docMk/>
            <pc:sldMk cId="995067089" sldId="336"/>
            <ac:spMk id="25" creationId="{FD82600F-3BBD-437D-8AAC-279F37D327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4:26.296" v="2598"/>
          <ac:spMkLst>
            <pc:docMk/>
            <pc:sldMk cId="995067089" sldId="336"/>
            <ac:spMk id="26" creationId="{953EE524-F3E1-4121-BCFD-4C49A6609C4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31.196" v="3363"/>
          <ac:spMkLst>
            <pc:docMk/>
            <pc:sldMk cId="995067089" sldId="336"/>
            <ac:spMk id="27" creationId="{47E03403-68AF-4DD2-9BA7-933E33195294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7"/>
          <ac:spMkLst>
            <pc:docMk/>
            <pc:sldMk cId="995067089" sldId="336"/>
            <ac:spMk id="30" creationId="{59B13EB1-D281-4AF1-8648-E1ACD6E531F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5:43.897" v="3517"/>
          <ac:spMkLst>
            <pc:docMk/>
            <pc:sldMk cId="995067089" sldId="336"/>
            <ac:spMk id="34" creationId="{2193B791-88D8-41FB-9471-9F972468BCBF}"/>
          </ac:spMkLst>
        </pc:spChg>
        <pc:spChg chg="add del mod ord">
          <ac:chgData name="Wind-Larsen, Taus (SGRE OF TE NAC TD SYC)" userId="909f4c56-f0bd-48e2-b5e6-c85fd07560b7" providerId="ADAL" clId="{CAC997D2-2045-4FBD-88AA-2930340D2AF4}" dt="2022-02-11T10:10:51.625" v="10073"/>
          <ac:spMkLst>
            <pc:docMk/>
            <pc:sldMk cId="995067089" sldId="336"/>
            <ac:spMk id="35" creationId="{7BFD16A6-30FC-46B3-94FA-6EBAB1E317C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40" creationId="{07EC499D-468B-4410-9ED3-B8A3DC222095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9"/>
          <ac:spMkLst>
            <pc:docMk/>
            <pc:sldMk cId="995067089" sldId="336"/>
            <ac:spMk id="44" creationId="{3F39639F-8A2D-4155-A41C-F52BA14DDC4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1"/>
          <ac:spMkLst>
            <pc:docMk/>
            <pc:sldMk cId="995067089" sldId="336"/>
            <ac:spMk id="46" creationId="{1E6101ED-100D-4B6A-8DA2-F3321B81720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50" creationId="{C1D1DC64-5F0B-4957-BA03-9BB13E20556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8"/>
          <ac:spMkLst>
            <pc:docMk/>
            <pc:sldMk cId="995067089" sldId="336"/>
            <ac:spMk id="53" creationId="{C7921388-F291-4C27-B766-406BC5C6EBE2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29" v="16598"/>
          <ac:spMkLst>
            <pc:docMk/>
            <pc:sldMk cId="995067089" sldId="336"/>
            <ac:spMk id="57" creationId="{B7694804-DC6A-43CE-9BD9-B104836C0EF3}"/>
          </ac:spMkLst>
        </pc:spChg>
        <pc:spChg chg="del mod">
          <ac:chgData name="Wind-Larsen, Taus (SGRE OF TE NAC TD SYC)" userId="909f4c56-f0bd-48e2-b5e6-c85fd07560b7" providerId="ADAL" clId="{CAC997D2-2045-4FBD-88AA-2930340D2AF4}" dt="2022-02-11T10:10:20.376" v="8346" actId="478"/>
          <ac:spMkLst>
            <pc:docMk/>
            <pc:sldMk cId="995067089" sldId="336"/>
            <ac:spMk id="58" creationId="{F7017BA5-8BA2-4C14-AF5B-603DF43B14B9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381" v="1484"/>
          <ac:spMkLst>
            <pc:docMk/>
            <pc:sldMk cId="995067089" sldId="336"/>
            <ac:spMk id="59" creationId="{3E6CCD06-5DC3-4A55-9C94-B84D5A3DEE6C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441" v="1537"/>
          <ac:spMkLst>
            <pc:docMk/>
            <pc:sldMk cId="995067089" sldId="336"/>
            <ac:spMk id="60" creationId="{15244E90-569B-4804-96E3-7FC83192FA9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02:42.531" v="1618"/>
          <ac:spMkLst>
            <pc:docMk/>
            <pc:sldMk cId="995067089" sldId="336"/>
            <ac:spMk id="62" creationId="{CF4FF2DD-C10C-4BDC-B660-84402502ECCE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81"/>
          <ac:spMkLst>
            <pc:docMk/>
            <pc:sldMk cId="995067089" sldId="336"/>
            <ac:spMk id="63" creationId="{FB274231-245E-4D9D-8773-1D303A34E3EF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3"/>
          <ac:spMkLst>
            <pc:docMk/>
            <pc:sldMk cId="995067089" sldId="336"/>
            <ac:spMk id="65" creationId="{F6FF8EF2-A5BE-4D68-8588-5B5299C52F19}"/>
          </ac:spMkLst>
        </pc:spChg>
        <pc:spChg chg="del mod ord">
          <ac:chgData name="Wind-Larsen, Taus (SGRE OF TE NAC TD SYC)" userId="909f4c56-f0bd-48e2-b5e6-c85fd07560b7" providerId="ADAL" clId="{CAC997D2-2045-4FBD-88AA-2930340D2AF4}" dt="2022-02-11T10:09:51.947" v="8198" actId="478"/>
          <ac:spMkLst>
            <pc:docMk/>
            <pc:sldMk cId="995067089" sldId="336"/>
            <ac:spMk id="66" creationId="{4C31525F-97E9-4C30-8AB6-84B452A52001}"/>
          </ac:spMkLst>
        </pc:spChg>
        <pc:spChg chg="mod">
          <ac:chgData name="Wind-Larsen, Taus (SGRE OF TE NAC TD SYC)" userId="909f4c56-f0bd-48e2-b5e6-c85fd07560b7" providerId="ADAL" clId="{CAC997D2-2045-4FBD-88AA-2930340D2AF4}" dt="2022-02-11T10:15:02.219" v="16579"/>
          <ac:spMkLst>
            <pc:docMk/>
            <pc:sldMk cId="995067089" sldId="336"/>
            <ac:spMk id="69" creationId="{EEF31358-F416-4A32-BDE8-98C80AE1C73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5"/>
          <ac:spMkLst>
            <pc:docMk/>
            <pc:sldMk cId="995067089" sldId="336"/>
            <ac:spMk id="72" creationId="{CA154379-494E-4734-89D2-5992D0D34B53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7" v="16587"/>
          <ac:spMkLst>
            <pc:docMk/>
            <pc:sldMk cId="995067089" sldId="336"/>
            <ac:spMk id="75" creationId="{5AAE0FCC-5711-4B2D-8099-067EC412D0D6}"/>
          </ac:spMkLst>
        </pc:spChg>
        <pc:spChg chg="mod ord">
          <ac:chgData name="Wind-Larsen, Taus (SGRE OF TE NAC TD SYC)" userId="909f4c56-f0bd-48e2-b5e6-c85fd07560b7" providerId="ADAL" clId="{CAC997D2-2045-4FBD-88AA-2930340D2AF4}" dt="2022-02-11T10:15:02.229" v="16597"/>
          <ac:spMkLst>
            <pc:docMk/>
            <pc:sldMk cId="995067089" sldId="336"/>
            <ac:spMk id="81" creationId="{5E9A0431-BF35-46E7-86D1-5EAE1306955C}"/>
          </ac:spMkLst>
        </pc:spChg>
        <pc:spChg chg="add mod">
          <ac:chgData name="Wind-Larsen, Taus (SGRE OF TE NAC TD SYC)" userId="909f4c56-f0bd-48e2-b5e6-c85fd07560b7" providerId="ADAL" clId="{CAC997D2-2045-4FBD-88AA-2930340D2AF4}" dt="2022-02-11T10:15:02.227" v="16583"/>
          <ac:spMkLst>
            <pc:docMk/>
            <pc:sldMk cId="995067089" sldId="336"/>
            <ac:spMk id="82" creationId="{2E9474F6-EC0B-425B-9EA6-75051CF86416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04.850" v="4189"/>
          <ac:spMkLst>
            <pc:docMk/>
            <pc:sldMk cId="995067089" sldId="336"/>
            <ac:spMk id="86" creationId="{DBE71A87-945B-4880-8492-D110EA2D310B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06:17.509" v="5325"/>
          <ac:spMkLst>
            <pc:docMk/>
            <pc:sldMk cId="995067089" sldId="336"/>
            <ac:spMk id="88" creationId="{D269047B-ED07-4A56-A1F5-968E4223ACB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6:42.997" v="5950"/>
          <ac:spMkLst>
            <pc:docMk/>
            <pc:sldMk cId="995067089" sldId="336"/>
            <ac:spMk id="90" creationId="{CE821111-9818-4A45-BAA2-5B299B19C0A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29" v="16595"/>
          <ac:spMkLst>
            <pc:docMk/>
            <pc:sldMk cId="995067089" sldId="336"/>
            <ac:spMk id="91" creationId="{0A9CA739-4907-402B-984F-CB49908024C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01.818" v="6127"/>
          <ac:spMkLst>
            <pc:docMk/>
            <pc:sldMk cId="995067089" sldId="336"/>
            <ac:spMk id="96" creationId="{62EAD920-0EC8-47BF-A523-DEFFBDA686F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10.125" v="6356"/>
          <ac:spMkLst>
            <pc:docMk/>
            <pc:sldMk cId="995067089" sldId="336"/>
            <ac:spMk id="98" creationId="{A1301C39-D013-47FA-BFDE-1032A97E403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7:58.797" v="6533"/>
          <ac:spMkLst>
            <pc:docMk/>
            <pc:sldMk cId="995067089" sldId="336"/>
            <ac:spMk id="101" creationId="{EFEFFA9E-E10D-4085-94B7-06D6206EEDA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0.447" v="6764"/>
          <ac:spMkLst>
            <pc:docMk/>
            <pc:sldMk cId="995067089" sldId="336"/>
            <ac:spMk id="103" creationId="{064372B5-B4CF-45D9-A519-7DFBD32A21B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5.320" v="6940"/>
          <ac:spMkLst>
            <pc:docMk/>
            <pc:sldMk cId="995067089" sldId="336"/>
            <ac:spMk id="105" creationId="{59E8E626-9685-4FB6-8C45-B841803F0BC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16.969" v="7118"/>
          <ac:spMkLst>
            <pc:docMk/>
            <pc:sldMk cId="995067089" sldId="336"/>
            <ac:spMk id="107" creationId="{9D2D52B9-B4E9-4E01-BA03-D8B213E41C56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0.640" v="7406"/>
          <ac:spMkLst>
            <pc:docMk/>
            <pc:sldMk cId="995067089" sldId="336"/>
            <ac:spMk id="110" creationId="{EE63CECC-70B5-467E-B674-4AE0CA00233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09:24.685" v="7678"/>
          <ac:spMkLst>
            <pc:docMk/>
            <pc:sldMk cId="995067089" sldId="336"/>
            <ac:spMk id="113" creationId="{C0FCEDB1-4D8D-427E-B7D1-40555216FAF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12.227" v="8343"/>
          <ac:spMkLst>
            <pc:docMk/>
            <pc:sldMk cId="995067089" sldId="336"/>
            <ac:spMk id="119" creationId="{5BE1F287-7BE3-4366-BB35-2E0A68DEAF11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3.873" v="8487"/>
          <ac:spMkLst>
            <pc:docMk/>
            <pc:sldMk cId="995067089" sldId="336"/>
            <ac:spMk id="121" creationId="{C9D2F01A-1301-4E97-AB3E-5EB20E940E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27.547" v="8716"/>
          <ac:spMkLst>
            <pc:docMk/>
            <pc:sldMk cId="995067089" sldId="336"/>
            <ac:spMk id="123" creationId="{142075F8-6C05-4BF6-9FE4-9A587ED3A04E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9.317" v="9956"/>
          <ac:spMkLst>
            <pc:docMk/>
            <pc:sldMk cId="995067089" sldId="336"/>
            <ac:spMk id="124" creationId="{72AFD886-F81A-41B1-9704-E6F6A570DC78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0.477" v="8947"/>
          <ac:spMkLst>
            <pc:docMk/>
            <pc:sldMk cId="995067089" sldId="336"/>
            <ac:spMk id="126" creationId="{E3A8BCFF-B168-47C1-B092-726D938C9A96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41.589" v="9514"/>
          <ac:spMkLst>
            <pc:docMk/>
            <pc:sldMk cId="995067089" sldId="336"/>
            <ac:spMk id="127" creationId="{775138C2-1FF5-4E78-88ED-983F75ECD721}"/>
          </ac:spMkLst>
        </pc:spChg>
        <pc:spChg chg="add del mod">
          <ac:chgData name="Wind-Larsen, Taus (SGRE OF TE NAC TD SYC)" userId="909f4c56-f0bd-48e2-b5e6-c85fd07560b7" providerId="ADAL" clId="{CAC997D2-2045-4FBD-88AA-2930340D2AF4}" dt="2022-02-11T10:10:35.806" v="9176"/>
          <ac:spMkLst>
            <pc:docMk/>
            <pc:sldMk cId="995067089" sldId="336"/>
            <ac:spMk id="129" creationId="{7296B07C-18F8-4C67-A19E-7C823797C3DE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34.187" v="9164"/>
          <ac:spMkLst>
            <pc:docMk/>
            <pc:sldMk cId="995067089" sldId="336"/>
            <ac:spMk id="130" creationId="{4CDFC1A7-5992-483A-8C2F-29FDD52119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47.898" v="9948"/>
          <ac:spMkLst>
            <pc:docMk/>
            <pc:sldMk cId="995067089" sldId="336"/>
            <ac:spMk id="136" creationId="{F3358BB7-19EF-4060-B49E-B78173AD08C8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1"/>
          <ac:spMkLst>
            <pc:docMk/>
            <pc:sldMk cId="995067089" sldId="336"/>
            <ac:spMk id="141" creationId="{57F94C1C-B279-482E-81AE-EFDD3558C11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0:59.446" v="10539"/>
          <ac:spMkLst>
            <pc:docMk/>
            <pc:sldMk cId="995067089" sldId="336"/>
            <ac:spMk id="142" creationId="{4DE19C7A-C148-48FA-80E3-658AA1B727F5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07.616" v="10737"/>
          <ac:spMkLst>
            <pc:docMk/>
            <pc:sldMk cId="995067089" sldId="336"/>
            <ac:spMk id="147" creationId="{2D99B731-D2C8-43BC-8E5E-3A0A931BF7E9}"/>
          </ac:spMkLst>
        </pc:spChg>
        <pc:spChg chg="add mod ord">
          <ac:chgData name="Wind-Larsen, Taus (SGRE OF TE NAC TD SYC)" userId="909f4c56-f0bd-48e2-b5e6-c85fd07560b7" providerId="ADAL" clId="{CAC997D2-2045-4FBD-88AA-2930340D2AF4}" dt="2022-02-11T10:15:02.208" v="16533"/>
          <ac:spMkLst>
            <pc:docMk/>
            <pc:sldMk cId="995067089" sldId="336"/>
            <ac:spMk id="149" creationId="{B6FB31CF-AD53-433E-B0C9-F3438737437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13.475" v="11002"/>
          <ac:spMkLst>
            <pc:docMk/>
            <pc:sldMk cId="995067089" sldId="336"/>
            <ac:spMk id="150" creationId="{BA3D78C9-6F41-4691-B7E0-7CF2AC3A5132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3.533" v="11949"/>
          <ac:spMkLst>
            <pc:docMk/>
            <pc:sldMk cId="995067089" sldId="336"/>
            <ac:spMk id="156" creationId="{D2E4B37C-D8AA-403D-8349-ADB5FAB96E39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29.148" v="12611"/>
          <ac:spMkLst>
            <pc:docMk/>
            <pc:sldMk cId="995067089" sldId="336"/>
            <ac:spMk id="158" creationId="{B7A00C6B-5747-4A6D-838F-C73512C5778F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39.721" v="12968"/>
          <ac:spMkLst>
            <pc:docMk/>
            <pc:sldMk cId="995067089" sldId="336"/>
            <ac:spMk id="160" creationId="{D5127650-CE19-4CC9-BB48-2A0D3BD9DCED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1:49.760" v="13026"/>
          <ac:spMkLst>
            <pc:docMk/>
            <pc:sldMk cId="995067089" sldId="336"/>
            <ac:spMk id="162" creationId="{E1F6CDFC-DDAF-4BF8-BB7D-401E3180C39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3:46.761" v="14574"/>
          <ac:spMkLst>
            <pc:docMk/>
            <pc:sldMk cId="995067089" sldId="336"/>
            <ac:spMk id="167" creationId="{80C4B69C-2C93-4849-BC62-456E4854228B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4:36.303" v="15874"/>
          <ac:spMkLst>
            <pc:docMk/>
            <pc:sldMk cId="995067089" sldId="336"/>
            <ac:spMk id="174" creationId="{EC5F62DE-B2B5-4A1B-A6F1-DF825023334A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0:15:02.229" v="16600"/>
          <ac:spMkLst>
            <pc:docMk/>
            <pc:sldMk cId="995067089" sldId="336"/>
            <ac:spMk id="177" creationId="{182F7C0A-6A78-4F5B-849C-9F60F967EB3F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58:17.038" v="35959"/>
          <ac:graphicFrameMkLst>
            <pc:docMk/>
            <pc:sldMk cId="995067089" sldId="336"/>
            <ac:graphicFrameMk id="7" creationId="{0CA3E6B4-5D0A-4682-8E37-8BE527F4F6A4}"/>
          </ac:graphicFrameMkLst>
        </pc:graphicFrameChg>
        <pc:graphicFrameChg chg="del">
          <ac:chgData name="Wind-Larsen, Taus (SGRE OF TE NAC TD SYC)" userId="909f4c56-f0bd-48e2-b5e6-c85fd07560b7" providerId="ADAL" clId="{CAC997D2-2045-4FBD-88AA-2930340D2AF4}" dt="2022-02-11T10:02:42.596" v="1708"/>
          <ac:graphicFrameMkLst>
            <pc:docMk/>
            <pc:sldMk cId="995067089" sldId="336"/>
            <ac:graphicFrameMk id="61" creationId="{D5687E3D-1DAA-499C-883F-883BD9085F7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3:27.419" v="1820"/>
          <ac:graphicFrameMkLst>
            <pc:docMk/>
            <pc:sldMk cId="995067089" sldId="336"/>
            <ac:graphicFrameMk id="64" creationId="{22157D0B-6484-4259-B89B-0A2F7469DF3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06.258" v="1995"/>
          <ac:graphicFrameMkLst>
            <pc:docMk/>
            <pc:sldMk cId="995067089" sldId="336"/>
            <ac:graphicFrameMk id="67" creationId="{A546B4AB-6417-442E-BEC6-5A74053FBE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16.220" v="2166"/>
          <ac:graphicFrameMkLst>
            <pc:docMk/>
            <pc:sldMk cId="995067089" sldId="336"/>
            <ac:graphicFrameMk id="68" creationId="{BE19C2E5-E227-4347-A8FC-DE5E407E8D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2.048" v="2317"/>
          <ac:graphicFrameMkLst>
            <pc:docMk/>
            <pc:sldMk cId="995067089" sldId="336"/>
            <ac:graphicFrameMk id="70" creationId="{1CE41D28-0BA6-4AF0-9B8F-DABE79A21D8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4:26.244" v="2502"/>
          <ac:graphicFrameMkLst>
            <pc:docMk/>
            <pc:sldMk cId="995067089" sldId="336"/>
            <ac:graphicFrameMk id="71" creationId="{4998602E-0ECE-4F18-93D2-ED30F1C65D4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8.798" v="2618"/>
          <ac:graphicFrameMkLst>
            <pc:docMk/>
            <pc:sldMk cId="995067089" sldId="336"/>
            <ac:graphicFrameMk id="73" creationId="{540B7D6C-92EE-435A-A2CA-7C0D4B86AF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09.671" v="2725"/>
          <ac:graphicFrameMkLst>
            <pc:docMk/>
            <pc:sldMk cId="995067089" sldId="336"/>
            <ac:graphicFrameMk id="74" creationId="{7D97E53E-9F35-442F-948B-E5F978A3418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0.385" v="6659"/>
          <ac:graphicFrameMkLst>
            <pc:docMk/>
            <pc:sldMk cId="995067089" sldId="336"/>
            <ac:graphicFrameMk id="79" creationId="{EC2FE52E-8A3E-4EA6-9548-3FC92577E7B0}"/>
          </ac:graphicFrameMkLst>
        </pc:graphicFrameChg>
        <pc:graphicFrameChg chg="del mod">
          <ac:chgData name="Wind-Larsen, Taus (SGRE OF TE NAC TD SYC)" userId="909f4c56-f0bd-48e2-b5e6-c85fd07560b7" providerId="ADAL" clId="{CAC997D2-2045-4FBD-88AA-2930340D2AF4}" dt="2022-02-11T10:05:31.143" v="3266"/>
          <ac:graphicFrameMkLst>
            <pc:docMk/>
            <pc:sldMk cId="995067089" sldId="336"/>
            <ac:graphicFrameMk id="80" creationId="{28C42CA4-4DEE-4592-B9CA-748A90F6D7B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43.844" v="3420"/>
          <ac:graphicFrameMkLst>
            <pc:docMk/>
            <pc:sldMk cId="995067089" sldId="336"/>
            <ac:graphicFrameMk id="83" creationId="{2EBF8B60-A01F-40B4-A28E-4F466C520C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5:52.182" v="3647"/>
          <ac:graphicFrameMkLst>
            <pc:docMk/>
            <pc:sldMk cId="995067089" sldId="336"/>
            <ac:graphicFrameMk id="84" creationId="{868FFEB4-BA7E-4FA5-8AAC-035C1584926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6:42.928" v="5847"/>
          <ac:graphicFrameMkLst>
            <pc:docMk/>
            <pc:sldMk cId="995067089" sldId="336"/>
            <ac:graphicFrameMk id="85" creationId="{C3436C57-141E-449C-957F-6C566AFFED96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04.850" v="4189"/>
          <ac:graphicFrameMkLst>
            <pc:docMk/>
            <pc:sldMk cId="995067089" sldId="336"/>
            <ac:graphicFrameMk id="87" creationId="{73F2EA35-0715-4A52-94D8-90AE14363994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06:17.509" v="5325"/>
          <ac:graphicFrameMkLst>
            <pc:docMk/>
            <pc:sldMk cId="995067089" sldId="336"/>
            <ac:graphicFrameMk id="89" creationId="{2A1CD49C-309C-40C8-B4EB-9E8087579AF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01.749" v="6024"/>
          <ac:graphicFrameMkLst>
            <pc:docMk/>
            <pc:sldMk cId="995067089" sldId="336"/>
            <ac:graphicFrameMk id="95" creationId="{CAAA8E03-606F-4444-B8F2-574AB57B0ADC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10.064" v="6251"/>
          <ac:graphicFrameMkLst>
            <pc:docMk/>
            <pc:sldMk cId="995067089" sldId="336"/>
            <ac:graphicFrameMk id="97" creationId="{D3086F2B-E605-44DD-BF0F-5107C0A2C38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7:58.728" v="6428"/>
          <ac:graphicFrameMkLst>
            <pc:docMk/>
            <pc:sldMk cId="995067089" sldId="336"/>
            <ac:graphicFrameMk id="100" creationId="{77181569-F74A-41C5-9824-93412AEE6CF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46.698" v="14472"/>
          <ac:graphicFrameMkLst>
            <pc:docMk/>
            <pc:sldMk cId="995067089" sldId="336"/>
            <ac:graphicFrameMk id="102" creationId="{D2D2A96F-8A31-4DD9-8640-CCF2909673E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5.267" v="6835"/>
          <ac:graphicFrameMkLst>
            <pc:docMk/>
            <pc:sldMk cId="995067089" sldId="336"/>
            <ac:graphicFrameMk id="104" creationId="{4CC92EBC-213F-473C-B491-BCBAC592CB0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6.900" v="7013"/>
          <ac:graphicFrameMkLst>
            <pc:docMk/>
            <pc:sldMk cId="995067089" sldId="336"/>
            <ac:graphicFrameMk id="106" creationId="{9C699673-6D6D-49C5-8DD8-2A97F67A472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19.035" v="7132"/>
          <ac:graphicFrameMkLst>
            <pc:docMk/>
            <pc:sldMk cId="995067089" sldId="336"/>
            <ac:graphicFrameMk id="108" creationId="{1F231975-95EC-49A0-9FA7-1E0B18EA9F4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0.571" v="7302"/>
          <ac:graphicFrameMkLst>
            <pc:docMk/>
            <pc:sldMk cId="995067089" sldId="336"/>
            <ac:graphicFrameMk id="109" creationId="{5EB24D88-1992-406E-8509-72057275EFB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1.204" v="7418"/>
          <ac:graphicFrameMkLst>
            <pc:docMk/>
            <pc:sldMk cId="995067089" sldId="336"/>
            <ac:graphicFrameMk id="111" creationId="{86E1262C-3E6D-46D9-B0DB-4444BF947A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4.632" v="7574"/>
          <ac:graphicFrameMkLst>
            <pc:docMk/>
            <pc:sldMk cId="995067089" sldId="336"/>
            <ac:graphicFrameMk id="112" creationId="{0F866423-E3E7-409B-8D7B-077FBAEBD6D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26.289" v="7691"/>
          <ac:graphicFrameMkLst>
            <pc:docMk/>
            <pc:sldMk cId="995067089" sldId="336"/>
            <ac:graphicFrameMk id="114" creationId="{51E94E62-5DD7-4B99-A72C-07967E5B5A7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38.700" v="7834"/>
          <ac:graphicFrameMkLst>
            <pc:docMk/>
            <pc:sldMk cId="995067089" sldId="336"/>
            <ac:graphicFrameMk id="115" creationId="{D0201AE3-595C-4D51-A9EE-E4DFFF21109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2.411" v="7982"/>
          <ac:graphicFrameMkLst>
            <pc:docMk/>
            <pc:sldMk cId="995067089" sldId="336"/>
            <ac:graphicFrameMk id="116" creationId="{8B862B18-42D5-4C40-9665-37D8499BF30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09:48.260" v="8100"/>
          <ac:graphicFrameMkLst>
            <pc:docMk/>
            <pc:sldMk cId="995067089" sldId="336"/>
            <ac:graphicFrameMk id="117" creationId="{14CD0943-D1C2-4E8E-8C03-798836A0198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12.180" v="8248"/>
          <ac:graphicFrameMkLst>
            <pc:docMk/>
            <pc:sldMk cId="995067089" sldId="336"/>
            <ac:graphicFrameMk id="118" creationId="{7D3EE375-A1DD-4B08-B742-A984585415E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3.821" v="8393"/>
          <ac:graphicFrameMkLst>
            <pc:docMk/>
            <pc:sldMk cId="995067089" sldId="336"/>
            <ac:graphicFrameMk id="120" creationId="{2E4D6518-E41F-44AF-B64D-F2780E1246F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27.485" v="8621"/>
          <ac:graphicFrameMkLst>
            <pc:docMk/>
            <pc:sldMk cId="995067089" sldId="336"/>
            <ac:graphicFrameMk id="122" creationId="{4BA9790D-0A9D-4B83-88D1-AD3DA0838902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0.424" v="8851"/>
          <ac:graphicFrameMkLst>
            <pc:docMk/>
            <pc:sldMk cId="995067089" sldId="336"/>
            <ac:graphicFrameMk id="125" creationId="{9428BC69-F2DC-43A2-8C8B-48AADE9E72F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4.118" v="9067"/>
          <ac:graphicFrameMkLst>
            <pc:docMk/>
            <pc:sldMk cId="995067089" sldId="336"/>
            <ac:graphicFrameMk id="128" creationId="{5A952EE6-FEDB-49CC-84A3-A9E7949C277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5.806" v="9179"/>
          <ac:graphicFrameMkLst>
            <pc:docMk/>
            <pc:sldMk cId="995067089" sldId="336"/>
            <ac:graphicFrameMk id="131" creationId="{E2F11B38-1E37-4826-BBFD-7CAEAC517DA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7.408" v="9286"/>
          <ac:graphicFrameMkLst>
            <pc:docMk/>
            <pc:sldMk cId="995067089" sldId="336"/>
            <ac:graphicFrameMk id="132" creationId="{F266FC81-AFAA-4B32-8CF6-3DA453B02EC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38.543" v="9412"/>
          <ac:graphicFrameMkLst>
            <pc:docMk/>
            <pc:sldMk cId="995067089" sldId="336"/>
            <ac:graphicFrameMk id="133" creationId="{5B6FE3A6-04B7-407F-8F85-7041988E0B3F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1.605" v="9524"/>
          <ac:graphicFrameMkLst>
            <pc:docMk/>
            <pc:sldMk cId="995067089" sldId="336"/>
            <ac:graphicFrameMk id="134" creationId="{E39FBE6F-1BF7-404B-A2C2-FB7E5EC0FC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7.838" v="9853"/>
          <ac:graphicFrameMkLst>
            <pc:docMk/>
            <pc:sldMk cId="995067089" sldId="336"/>
            <ac:graphicFrameMk id="135" creationId="{0D3DC1B1-8EED-4252-B90F-12A5DB5AA18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49.333" v="9977"/>
          <ac:graphicFrameMkLst>
            <pc:docMk/>
            <pc:sldMk cId="995067089" sldId="336"/>
            <ac:graphicFrameMk id="137" creationId="{3503245C-6BB0-4FBE-89E5-867BA1D89C0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1.657" v="10093"/>
          <ac:graphicFrameMkLst>
            <pc:docMk/>
            <pc:sldMk cId="995067089" sldId="336"/>
            <ac:graphicFrameMk id="138" creationId="{581F8E10-A39C-464E-8FC7-C621B7E224E9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3.767" v="10199"/>
          <ac:graphicFrameMkLst>
            <pc:docMk/>
            <pc:sldMk cId="995067089" sldId="336"/>
            <ac:graphicFrameMk id="139" creationId="{EC83322A-5547-4216-95BE-B4F055A24E4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0:59.392" v="10445"/>
          <ac:graphicFrameMkLst>
            <pc:docMk/>
            <pc:sldMk cId="995067089" sldId="336"/>
            <ac:graphicFrameMk id="140" creationId="{874CB590-07A4-44BD-B1A7-92532AD3B5E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07.562" v="10643"/>
          <ac:graphicFrameMkLst>
            <pc:docMk/>
            <pc:sldMk cId="995067089" sldId="336"/>
            <ac:graphicFrameMk id="146" creationId="{FDD2D845-9D8E-4502-957E-CAAAD767F9D8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13.406" v="10900"/>
          <ac:graphicFrameMkLst>
            <pc:docMk/>
            <pc:sldMk cId="995067089" sldId="336"/>
            <ac:graphicFrameMk id="148" creationId="{29787324-38AB-4FF7-8B2F-C00D05CAF917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1:39.662" v="12866"/>
          <ac:graphicFrameMkLst>
            <pc:docMk/>
            <pc:sldMk cId="995067089" sldId="336"/>
            <ac:graphicFrameMk id="154" creationId="{81A55382-5576-4665-95AB-A8D30E824992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17.838" v="11287"/>
          <ac:graphicFrameMkLst>
            <pc:docMk/>
            <pc:sldMk cId="995067089" sldId="336"/>
            <ac:graphicFrameMk id="155" creationId="{3E5BFE11-A5E9-4B73-8D78-3E63A8F6240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3.533" v="11949"/>
          <ac:graphicFrameMkLst>
            <pc:docMk/>
            <pc:sldMk cId="995067089" sldId="336"/>
            <ac:graphicFrameMk id="157" creationId="{EB8D422B-086B-4CDC-999E-EA607C024591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1:29.148" v="12611"/>
          <ac:graphicFrameMkLst>
            <pc:docMk/>
            <pc:sldMk cId="995067089" sldId="336"/>
            <ac:graphicFrameMk id="159" creationId="{80BAE5A7-C9CC-4806-B643-62D07D36748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38.580" v="13175"/>
          <ac:graphicFrameMkLst>
            <pc:docMk/>
            <pc:sldMk cId="995067089" sldId="336"/>
            <ac:graphicFrameMk id="161" creationId="{57DB2F30-8B8B-43AF-80C9-ABC3E170E8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2:49.936" v="13354"/>
          <ac:graphicFrameMkLst>
            <pc:docMk/>
            <pc:sldMk cId="995067089" sldId="336"/>
            <ac:graphicFrameMk id="163" creationId="{54FE398B-3C01-4F5C-8399-6B02C1B6459B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00.051" v="13516"/>
          <ac:graphicFrameMkLst>
            <pc:docMk/>
            <pc:sldMk cId="995067089" sldId="336"/>
            <ac:graphicFrameMk id="164" creationId="{E48ED672-8050-4C26-98A1-C5D7210D885D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26.099" v="13746"/>
          <ac:graphicFrameMkLst>
            <pc:docMk/>
            <pc:sldMk cId="995067089" sldId="336"/>
            <ac:graphicFrameMk id="165" creationId="{C2D1960C-5B90-4A10-A35D-B051A231B72A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3:58.502" v="14625"/>
          <ac:graphicFrameMkLst>
            <pc:docMk/>
            <pc:sldMk cId="995067089" sldId="336"/>
            <ac:graphicFrameMk id="166" creationId="{9275088D-1D4A-4B5D-B839-84DE999A050E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0.933" v="14856"/>
          <ac:graphicFrameMkLst>
            <pc:docMk/>
            <pc:sldMk cId="995067089" sldId="336"/>
            <ac:graphicFrameMk id="168" creationId="{8C723E08-3044-4230-A92B-6A768A57C01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198" v="16514"/>
          <ac:graphicFrameMkLst>
            <pc:docMk/>
            <pc:sldMk cId="995067089" sldId="336"/>
            <ac:graphicFrameMk id="169" creationId="{3C6E91AF-B3CE-4A34-B886-31B2A6A12E95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2.608" v="15086"/>
          <ac:graphicFrameMkLst>
            <pc:docMk/>
            <pc:sldMk cId="995067089" sldId="336"/>
            <ac:graphicFrameMk id="170" creationId="{47B71188-38C8-4505-B18A-8F116A3D3036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3.494" v="15316"/>
          <ac:graphicFrameMkLst>
            <pc:docMk/>
            <pc:sldMk cId="995067089" sldId="336"/>
            <ac:graphicFrameMk id="171" creationId="{1EE8B248-B0B4-4CD0-A5D1-532520F66954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14.299" v="15546"/>
          <ac:graphicFrameMkLst>
            <pc:docMk/>
            <pc:sldMk cId="995067089" sldId="336"/>
            <ac:graphicFrameMk id="172" creationId="{BF8F516A-21E3-44E3-AF0E-38D3DEBE8D70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4:36.240" v="15772"/>
          <ac:graphicFrameMkLst>
            <pc:docMk/>
            <pc:sldMk cId="995067089" sldId="336"/>
            <ac:graphicFrameMk id="173" creationId="{AC3790B8-1DE2-4511-AA24-17FC8F703A73}"/>
          </ac:graphicFrameMkLst>
        </pc:graphicFrameChg>
        <pc:graphicFrameChg chg="add del mod">
          <ac:chgData name="Wind-Larsen, Taus (SGRE OF TE NAC TD SYC)" userId="909f4c56-f0bd-48e2-b5e6-c85fd07560b7" providerId="ADAL" clId="{CAC997D2-2045-4FBD-88AA-2930340D2AF4}" dt="2022-02-11T10:15:02.168" v="16498"/>
          <ac:graphicFrameMkLst>
            <pc:docMk/>
            <pc:sldMk cId="995067089" sldId="336"/>
            <ac:graphicFrameMk id="175" creationId="{06817139-01E6-44CA-8710-3F194A37EAED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4:45.640" v="16048" actId="1076"/>
          <ac:graphicFrameMkLst>
            <pc:docMk/>
            <pc:sldMk cId="995067089" sldId="336"/>
            <ac:graphicFrameMk id="176" creationId="{22F7C7BE-E27C-4E3F-845C-3A594FF8A970}"/>
          </ac:graphicFrameMkLst>
        </pc:graphicFrameChg>
        <pc:graphicFrameChg chg="add mod">
          <ac:chgData name="Wind-Larsen, Taus (SGRE OF TE NAC TD SYC)" userId="909f4c56-f0bd-48e2-b5e6-c85fd07560b7" providerId="ADAL" clId="{CAC997D2-2045-4FBD-88AA-2930340D2AF4}" dt="2022-02-11T10:15:02.208" v="16540"/>
          <ac:graphicFrameMkLst>
            <pc:docMk/>
            <pc:sldMk cId="995067089" sldId="336"/>
            <ac:graphicFrameMk id="178" creationId="{893AA19C-F33C-4DDC-A8B7-626AC44F77FD}"/>
          </ac:graphicFrameMkLst>
        </pc:graphicFrameChg>
        <pc:cxnChg chg="mod ord">
          <ac:chgData name="Wind-Larsen, Taus (SGRE OF TE NAC TD SYC)" userId="909f4c56-f0bd-48e2-b5e6-c85fd07560b7" providerId="ADAL" clId="{CAC997D2-2045-4FBD-88AA-2930340D2AF4}" dt="2022-02-11T10:15:02.217" v="16554"/>
          <ac:cxnSpMkLst>
            <pc:docMk/>
            <pc:sldMk cId="995067089" sldId="336"/>
            <ac:cxnSpMk id="17" creationId="{67596748-7381-4E43-AF2E-DBE5B3C7A6B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60"/>
          <ac:cxnSpMkLst>
            <pc:docMk/>
            <pc:sldMk cId="995067089" sldId="336"/>
            <ac:cxnSpMk id="20" creationId="{72FAB806-EB20-436C-87B5-28D8EF7EB17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91"/>
          <ac:cxnSpMkLst>
            <pc:docMk/>
            <pc:sldMk cId="995067089" sldId="336"/>
            <ac:cxnSpMk id="24" creationId="{ECE502E1-3EBC-4A31-8058-A9ADD715081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9"/>
          <ac:cxnSpMkLst>
            <pc:docMk/>
            <pc:sldMk cId="995067089" sldId="336"/>
            <ac:cxnSpMk id="28" creationId="{B8342669-BA27-400F-BEBD-23AB4ACC523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0:53.752" v="10187"/>
          <ac:cxnSpMkLst>
            <pc:docMk/>
            <pc:sldMk cId="995067089" sldId="336"/>
            <ac:cxnSpMk id="29" creationId="{65F502C1-2AD9-4068-9CF5-B58E97E2C1ED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91"/>
          <ac:cxnSpMkLst>
            <pc:docMk/>
            <pc:sldMk cId="995067089" sldId="336"/>
            <ac:cxnSpMk id="31" creationId="{A70B4FF4-C1AB-4327-A31A-C9390C4D93B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9"/>
          <ac:cxnSpMkLst>
            <pc:docMk/>
            <pc:sldMk cId="995067089" sldId="336"/>
            <ac:cxnSpMk id="32" creationId="{40DA7C68-839A-4259-8163-C1DFEB77D076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9:48.244" v="8087"/>
          <ac:cxnSpMkLst>
            <pc:docMk/>
            <pc:sldMk cId="995067089" sldId="336"/>
            <ac:cxnSpMk id="33" creationId="{E05B24B8-8D19-45B3-93A7-E67720B5C476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8"/>
          <ac:cxnSpMkLst>
            <pc:docMk/>
            <pc:sldMk cId="995067089" sldId="336"/>
            <ac:cxnSpMk id="36" creationId="{84CF4D50-E1F3-4C2B-9F54-F7BA2BA676CA}"/>
          </ac:cxnSpMkLst>
        </pc:cxnChg>
        <pc:cxnChg chg="del mod ord">
          <ac:chgData name="Wind-Larsen, Taus (SGRE OF TE NAC TD SYC)" userId="909f4c56-f0bd-48e2-b5e6-c85fd07560b7" providerId="ADAL" clId="{CAC997D2-2045-4FBD-88AA-2930340D2AF4}" dt="2022-02-11T10:06:42.881" v="5775"/>
          <ac:cxnSpMkLst>
            <pc:docMk/>
            <pc:sldMk cId="995067089" sldId="336"/>
            <ac:cxnSpMk id="37" creationId="{2E64F948-4C1C-4190-955E-979747DB324B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4"/>
          <ac:cxnSpMkLst>
            <pc:docMk/>
            <pc:sldMk cId="995067089" sldId="336"/>
            <ac:cxnSpMk id="38" creationId="{B10088F8-1355-483F-81FB-863637115342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70"/>
          <ac:cxnSpMkLst>
            <pc:docMk/>
            <pc:sldMk cId="995067089" sldId="336"/>
            <ac:cxnSpMk id="39" creationId="{AD3F2CFE-F938-47E6-BA20-1D1729AA42A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2"/>
          <ac:cxnSpMkLst>
            <pc:docMk/>
            <pc:sldMk cId="995067089" sldId="336"/>
            <ac:cxnSpMk id="41" creationId="{20E6E158-6032-4451-97DA-CF98B60F71A2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2" creationId="{2F628FAC-17AE-4484-B090-49644F57C95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3" creationId="{1A76B2F0-2E98-4545-9C5E-DA26AF048055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6"/>
          <ac:cxnSpMkLst>
            <pc:docMk/>
            <pc:sldMk cId="995067089" sldId="336"/>
            <ac:cxnSpMk id="45" creationId="{E06BEE14-6D32-4AF7-9A10-F57017B7CD1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9" v="16564"/>
          <ac:cxnSpMkLst>
            <pc:docMk/>
            <pc:sldMk cId="995067089" sldId="336"/>
            <ac:cxnSpMk id="47" creationId="{A0F96AC7-3607-4781-81A8-8779530E5981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17" v="16558"/>
          <ac:cxnSpMkLst>
            <pc:docMk/>
            <pc:sldMk cId="995067089" sldId="336"/>
            <ac:cxnSpMk id="48" creationId="{1FA06BA3-C521-419C-99C9-FD10F87FB5B8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04.850" v="4189"/>
          <ac:cxnSpMkLst>
            <pc:docMk/>
            <pc:sldMk cId="995067089" sldId="336"/>
            <ac:cxnSpMk id="49" creationId="{436C69B8-86FA-4130-A99B-BE99530BD03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1" creationId="{217F7771-8DBC-481C-9227-ECA7E4295B10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15:02.208" v="16542"/>
          <ac:cxnSpMkLst>
            <pc:docMk/>
            <pc:sldMk cId="995067089" sldId="336"/>
            <ac:cxnSpMk id="52" creationId="{5AACAA03-17E9-4333-B082-25BD892BF55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6"/>
          <ac:cxnSpMkLst>
            <pc:docMk/>
            <pc:sldMk cId="995067089" sldId="336"/>
            <ac:cxnSpMk id="54" creationId="{03A409E1-EDDF-45CB-A701-858D39DE8815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5" creationId="{42B65BB4-D348-4591-AC3D-9EA7A6283947}"/>
          </ac:cxnSpMkLst>
        </pc:cxnChg>
        <pc:cxnChg chg="add del mod ord">
          <ac:chgData name="Wind-Larsen, Taus (SGRE OF TE NAC TD SYC)" userId="909f4c56-f0bd-48e2-b5e6-c85fd07560b7" providerId="ADAL" clId="{CAC997D2-2045-4FBD-88AA-2930340D2AF4}" dt="2022-02-11T10:06:17.509" v="5325"/>
          <ac:cxnSpMkLst>
            <pc:docMk/>
            <pc:sldMk cId="995067089" sldId="336"/>
            <ac:cxnSpMk id="56" creationId="{DABC5105-ADFD-4461-B659-13C74E82030E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2"/>
          <ac:cxnSpMkLst>
            <pc:docMk/>
            <pc:sldMk cId="995067089" sldId="336"/>
            <ac:cxnSpMk id="76" creationId="{C4EEDD36-FC12-48A2-AC02-8761721A25CD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50"/>
          <ac:cxnSpMkLst>
            <pc:docMk/>
            <pc:sldMk cId="995067089" sldId="336"/>
            <ac:cxnSpMk id="77" creationId="{A3DA4C67-AD05-421F-B06F-8E62E478BC30}"/>
          </ac:cxnSpMkLst>
        </pc:cxnChg>
        <pc:cxnChg chg="mod ord">
          <ac:chgData name="Wind-Larsen, Taus (SGRE OF TE NAC TD SYC)" userId="909f4c56-f0bd-48e2-b5e6-c85fd07560b7" providerId="ADAL" clId="{CAC997D2-2045-4FBD-88AA-2930340D2AF4}" dt="2022-02-11T10:15:02.208" v="16548"/>
          <ac:cxnSpMkLst>
            <pc:docMk/>
            <pc:sldMk cId="995067089" sldId="336"/>
            <ac:cxnSpMk id="78" creationId="{B4B73418-303A-4AE9-B9CE-FBC3397F41D6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4"/>
          <ac:cxnSpMkLst>
            <pc:docMk/>
            <pc:sldMk cId="995067089" sldId="336"/>
            <ac:cxnSpMk id="92" creationId="{B541F855-06A9-4E08-9DEF-743786F8BF1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6"/>
          <ac:cxnSpMkLst>
            <pc:docMk/>
            <pc:sldMk cId="995067089" sldId="336"/>
            <ac:cxnSpMk id="93" creationId="{86FCC693-3754-4DD1-9533-566A3D12832F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72"/>
          <ac:cxnSpMkLst>
            <pc:docMk/>
            <pc:sldMk cId="995067089" sldId="336"/>
            <ac:cxnSpMk id="94" creationId="{490D833C-7ADA-47A3-B56E-4239395CEC8A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19" v="16566"/>
          <ac:cxnSpMkLst>
            <pc:docMk/>
            <pc:sldMk cId="995067089" sldId="336"/>
            <ac:cxnSpMk id="99" creationId="{8A16D71B-8758-468F-8CB3-80AB806CDF07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8"/>
          <ac:cxnSpMkLst>
            <pc:docMk/>
            <pc:sldMk cId="995067089" sldId="336"/>
            <ac:cxnSpMk id="143" creationId="{9F075E6E-6E8D-4B51-AAAA-86999184EDF9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16"/>
          <ac:cxnSpMkLst>
            <pc:docMk/>
            <pc:sldMk cId="995067089" sldId="336"/>
            <ac:cxnSpMk id="144" creationId="{18554E66-610B-4EAC-BAC0-72582685382B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0"/>
          <ac:cxnSpMkLst>
            <pc:docMk/>
            <pc:sldMk cId="995067089" sldId="336"/>
            <ac:cxnSpMk id="145" creationId="{7991103A-DD98-4403-B489-01103FE1388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198" v="16522"/>
          <ac:cxnSpMkLst>
            <pc:docMk/>
            <pc:sldMk cId="995067089" sldId="336"/>
            <ac:cxnSpMk id="151" creationId="{B25351B5-8410-40B6-B414-5961AE306F15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4"/>
          <ac:cxnSpMkLst>
            <pc:docMk/>
            <pc:sldMk cId="995067089" sldId="336"/>
            <ac:cxnSpMk id="152" creationId="{2B5BF759-88E6-494E-9C37-4A5BEB71FC61}"/>
          </ac:cxnSpMkLst>
        </pc:cxnChg>
        <pc:cxnChg chg="add mod ord">
          <ac:chgData name="Wind-Larsen, Taus (SGRE OF TE NAC TD SYC)" userId="909f4c56-f0bd-48e2-b5e6-c85fd07560b7" providerId="ADAL" clId="{CAC997D2-2045-4FBD-88AA-2930340D2AF4}" dt="2022-02-11T10:15:02.206" v="16526"/>
          <ac:cxnSpMkLst>
            <pc:docMk/>
            <pc:sldMk cId="995067089" sldId="336"/>
            <ac:cxnSpMk id="153" creationId="{2C7C0889-1527-4617-AFEC-E1B7B3BDA352}"/>
          </ac:cxnSpMkLst>
        </pc:cxnChg>
      </pc:sldChg>
      <pc:sldChg chg="modSp add mod">
        <pc:chgData name="Wind-Larsen, Taus (SGRE OF TE NAC TD SYC)" userId="909f4c56-f0bd-48e2-b5e6-c85fd07560b7" providerId="ADAL" clId="{CAC997D2-2045-4FBD-88AA-2930340D2AF4}" dt="2022-02-11T13:21:19.092" v="33888" actId="113"/>
        <pc:sldMkLst>
          <pc:docMk/>
          <pc:sldMk cId="479969689" sldId="337"/>
        </pc:sldMkLst>
        <pc:spChg chg="mod">
          <ac:chgData name="Wind-Larsen, Taus (SGRE OF TE NAC TD SYC)" userId="909f4c56-f0bd-48e2-b5e6-c85fd07560b7" providerId="ADAL" clId="{CAC997D2-2045-4FBD-88AA-2930340D2AF4}" dt="2022-02-11T13:21:19.092" v="33888" actId="113"/>
          <ac:spMkLst>
            <pc:docMk/>
            <pc:sldMk cId="479969689" sldId="337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22:58.095" v="33893" actId="20577"/>
        <pc:sldMkLst>
          <pc:docMk/>
          <pc:sldMk cId="3084079554" sldId="338"/>
        </pc:sldMkLst>
        <pc:spChg chg="mod">
          <ac:chgData name="Wind-Larsen, Taus (SGRE OF TE NAC TD SYC)" userId="909f4c56-f0bd-48e2-b5e6-c85fd07560b7" providerId="ADAL" clId="{CAC997D2-2045-4FBD-88AA-2930340D2AF4}" dt="2022-02-11T13:22:58.095" v="33893" actId="20577"/>
          <ac:spMkLst>
            <pc:docMk/>
            <pc:sldMk cId="3084079554" sldId="338"/>
            <ac:spMk id="6" creationId="{ECCB7D8A-828C-4A5A-87D9-D3FD263901E9}"/>
          </ac:spMkLst>
        </pc:spChg>
      </pc:sldChg>
      <pc:sldChg chg="addSp delSp modSp add mod modAnim">
        <pc:chgData name="Wind-Larsen, Taus (SGRE OF TE NAC TD SYC)" userId="909f4c56-f0bd-48e2-b5e6-c85fd07560b7" providerId="ADAL" clId="{CAC997D2-2045-4FBD-88AA-2930340D2AF4}" dt="2022-02-11T14:53:52.026" v="36684" actId="20577"/>
        <pc:sldMkLst>
          <pc:docMk/>
          <pc:sldMk cId="1231909040" sldId="339"/>
        </pc:sldMkLst>
        <pc:spChg chg="mod">
          <ac:chgData name="Wind-Larsen, Taus (SGRE OF TE NAC TD SYC)" userId="909f4c56-f0bd-48e2-b5e6-c85fd07560b7" providerId="ADAL" clId="{CAC997D2-2045-4FBD-88AA-2930340D2AF4}" dt="2022-02-11T13:25:29.692" v="34069" actId="948"/>
          <ac:spMkLst>
            <pc:docMk/>
            <pc:sldMk cId="1231909040" sldId="339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3:25:18.537" v="33962" actId="478"/>
          <ac:spMkLst>
            <pc:docMk/>
            <pc:sldMk cId="1231909040" sldId="339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22:41.161" v="36099" actId="14100"/>
          <ac:spMkLst>
            <pc:docMk/>
            <pc:sldMk cId="1231909040" sldId="339"/>
            <ac:spMk id="8" creationId="{04E5EB0D-310E-4ED3-A3E2-2E599422A81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7.270" v="34017"/>
          <ac:spMkLst>
            <pc:docMk/>
            <pc:sldMk cId="1231909040" sldId="339"/>
            <ac:spMk id="9" creationId="{ADE70775-9173-462B-ABC8-1A48721E58F4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8.790" v="34065"/>
          <ac:spMkLst>
            <pc:docMk/>
            <pc:sldMk cId="1231909040" sldId="339"/>
            <ac:spMk id="10" creationId="{DBB89B63-1928-40A4-84B4-C44869A7EF77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3:25:29.811" v="34108"/>
          <ac:spMkLst>
            <pc:docMk/>
            <pc:sldMk cId="1231909040" sldId="339"/>
            <ac:spMk id="11" creationId="{359CDC06-2870-4B43-B615-9FC95056484F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30:52.546" v="36314" actId="14861"/>
          <ac:spMkLst>
            <pc:docMk/>
            <pc:sldMk cId="1231909040" sldId="339"/>
            <ac:spMk id="12" creationId="{8DAD6B42-EDE3-45C3-B2AE-E92DE20B38CB}"/>
          </ac:spMkLst>
        </pc:spChg>
        <pc:spChg chg="add mod">
          <ac:chgData name="Wind-Larsen, Taus (SGRE OF TE NAC TD SYC)" userId="909f4c56-f0bd-48e2-b5e6-c85fd07560b7" providerId="ADAL" clId="{CAC997D2-2045-4FBD-88AA-2930340D2AF4}" dt="2022-02-11T14:53:52.026" v="36684" actId="20577"/>
          <ac:spMkLst>
            <pc:docMk/>
            <pc:sldMk cId="1231909040" sldId="339"/>
            <ac:spMk id="13" creationId="{9002AFF6-EC8E-400F-8784-96799CA8AF46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3:25:29.817" v="34110"/>
          <ac:graphicFrameMkLst>
            <pc:docMk/>
            <pc:sldMk cId="1231909040" sldId="339"/>
            <ac:graphicFrameMk id="7" creationId="{C2E1FD7A-6B81-4A2C-A69F-E9E0FBC2131B}"/>
          </ac:graphicFrameMkLst>
        </pc:graphicFrameChg>
      </pc:sldChg>
      <pc:sldChg chg="modSp add mod">
        <pc:chgData name="Wind-Larsen, Taus (SGRE OF TE NAC TD SYC)" userId="909f4c56-f0bd-48e2-b5e6-c85fd07560b7" providerId="ADAL" clId="{CAC997D2-2045-4FBD-88AA-2930340D2AF4}" dt="2022-02-11T13:27:44.938" v="34131" actId="114"/>
        <pc:sldMkLst>
          <pc:docMk/>
          <pc:sldMk cId="3983236087" sldId="340"/>
        </pc:sldMkLst>
        <pc:spChg chg="mod">
          <ac:chgData name="Wind-Larsen, Taus (SGRE OF TE NAC TD SYC)" userId="909f4c56-f0bd-48e2-b5e6-c85fd07560b7" providerId="ADAL" clId="{CAC997D2-2045-4FBD-88AA-2930340D2AF4}" dt="2022-02-11T13:27:44.938" v="34131" actId="114"/>
          <ac:spMkLst>
            <pc:docMk/>
            <pc:sldMk cId="3983236087" sldId="340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2:45.728" v="34262" actId="113"/>
        <pc:sldMkLst>
          <pc:docMk/>
          <pc:sldMk cId="2018643726" sldId="341"/>
        </pc:sldMkLst>
        <pc:spChg chg="mod">
          <ac:chgData name="Wind-Larsen, Taus (SGRE OF TE NAC TD SYC)" userId="909f4c56-f0bd-48e2-b5e6-c85fd07560b7" providerId="ADAL" clId="{CAC997D2-2045-4FBD-88AA-2930340D2AF4}" dt="2022-02-11T13:32:45.728" v="34262" actId="113"/>
          <ac:spMkLst>
            <pc:docMk/>
            <pc:sldMk cId="2018643726" sldId="341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34:02.430" v="34556" actId="113"/>
        <pc:sldMkLst>
          <pc:docMk/>
          <pc:sldMk cId="1611808819" sldId="342"/>
        </pc:sldMkLst>
        <pc:spChg chg="mod">
          <ac:chgData name="Wind-Larsen, Taus (SGRE OF TE NAC TD SYC)" userId="909f4c56-f0bd-48e2-b5e6-c85fd07560b7" providerId="ADAL" clId="{CAC997D2-2045-4FBD-88AA-2930340D2AF4}" dt="2022-02-11T13:34:02.430" v="34556" actId="113"/>
          <ac:spMkLst>
            <pc:docMk/>
            <pc:sldMk cId="1611808819" sldId="342"/>
            <ac:spMk id="6" creationId="{ECCB7D8A-828C-4A5A-87D9-D3FD263901E9}"/>
          </ac:spMkLst>
        </pc:spChg>
      </pc:sldChg>
      <pc:sldChg chg="modSp add mod">
        <pc:chgData name="Wind-Larsen, Taus (SGRE OF TE NAC TD SYC)" userId="909f4c56-f0bd-48e2-b5e6-c85fd07560b7" providerId="ADAL" clId="{CAC997D2-2045-4FBD-88AA-2930340D2AF4}" dt="2022-02-11T13:43:07.280" v="34870" actId="113"/>
        <pc:sldMkLst>
          <pc:docMk/>
          <pc:sldMk cId="1831290368" sldId="343"/>
        </pc:sldMkLst>
        <pc:spChg chg="mod">
          <ac:chgData name="Wind-Larsen, Taus (SGRE OF TE NAC TD SYC)" userId="909f4c56-f0bd-48e2-b5e6-c85fd07560b7" providerId="ADAL" clId="{CAC997D2-2045-4FBD-88AA-2930340D2AF4}" dt="2022-02-11T13:43:07.280" v="34870" actId="113"/>
          <ac:spMkLst>
            <pc:docMk/>
            <pc:sldMk cId="1831290368" sldId="343"/>
            <ac:spMk id="6" creationId="{ECCB7D8A-828C-4A5A-87D9-D3FD263901E9}"/>
          </ac:spMkLst>
        </pc:spChg>
      </pc:sldChg>
      <pc:sldChg chg="addSp delSp modSp add mod">
        <pc:chgData name="Wind-Larsen, Taus (SGRE OF TE NAC TD SYC)" userId="909f4c56-f0bd-48e2-b5e6-c85fd07560b7" providerId="ADAL" clId="{CAC997D2-2045-4FBD-88AA-2930340D2AF4}" dt="2022-02-11T15:06:01.195" v="36839" actId="113"/>
        <pc:sldMkLst>
          <pc:docMk/>
          <pc:sldMk cId="2138284291" sldId="344"/>
        </pc:sldMkLst>
        <pc:spChg chg="mod">
          <ac:chgData name="Wind-Larsen, Taus (SGRE OF TE NAC TD SYC)" userId="909f4c56-f0bd-48e2-b5e6-c85fd07560b7" providerId="ADAL" clId="{CAC997D2-2045-4FBD-88AA-2930340D2AF4}" dt="2022-02-11T15:02:10.188" v="36750" actId="948"/>
          <ac:spMkLst>
            <pc:docMk/>
            <pc:sldMk cId="2138284291" sldId="344"/>
            <ac:spMk id="2" creationId="{54329A1D-5733-4D01-B538-36178393AF26}"/>
          </ac:spMkLst>
        </pc:spChg>
        <pc:spChg chg="del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6" creationId="{ECCB7D8A-828C-4A5A-87D9-D3FD263901E9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2:01.864" v="36689" actId="478"/>
          <ac:spMkLst>
            <pc:docMk/>
            <pc:sldMk cId="2138284291" sldId="344"/>
            <ac:spMk id="8" creationId="{6280E865-B159-4344-BC65-FF5157CEC063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06.990" v="36738"/>
          <ac:spMkLst>
            <pc:docMk/>
            <pc:sldMk cId="2138284291" sldId="344"/>
            <ac:spMk id="9" creationId="{B8566EF8-F854-47BD-9C7E-9DAE13BCDE10}"/>
          </ac:spMkLst>
        </pc:spChg>
        <pc:spChg chg="add del mod modVis">
          <ac:chgData name="Wind-Larsen, Taus (SGRE OF TE NAC TD SYC)" userId="909f4c56-f0bd-48e2-b5e6-c85fd07560b7" providerId="ADAL" clId="{CAC997D2-2045-4FBD-88AA-2930340D2AF4}" dt="2022-02-11T15:02:10.261" v="36789"/>
          <ac:spMkLst>
            <pc:docMk/>
            <pc:sldMk cId="2138284291" sldId="344"/>
            <ac:spMk id="10" creationId="{BEB8CA9C-4673-4FBE-A907-D4C86B13BC64}"/>
          </ac:spMkLst>
        </pc:spChg>
        <pc:spChg chg="add mod">
          <ac:chgData name="Wind-Larsen, Taus (SGRE OF TE NAC TD SYC)" userId="909f4c56-f0bd-48e2-b5e6-c85fd07560b7" providerId="ADAL" clId="{CAC997D2-2045-4FBD-88AA-2930340D2AF4}" dt="2022-02-11T15:06:01.195" v="36839" actId="113"/>
          <ac:spMkLst>
            <pc:docMk/>
            <pc:sldMk cId="2138284291" sldId="344"/>
            <ac:spMk id="11" creationId="{E030C62C-FB27-4018-AE64-147E2B871510}"/>
          </ac:spMkLst>
        </pc:spChg>
        <pc:graphicFrameChg chg="mod">
          <ac:chgData name="Wind-Larsen, Taus (SGRE OF TE NAC TD SYC)" userId="909f4c56-f0bd-48e2-b5e6-c85fd07560b7" providerId="ADAL" clId="{CAC997D2-2045-4FBD-88AA-2930340D2AF4}" dt="2022-02-11T15:02:10.264" v="36791"/>
          <ac:graphicFrameMkLst>
            <pc:docMk/>
            <pc:sldMk cId="2138284291" sldId="344"/>
            <ac:graphicFrameMk id="7" creationId="{C2E1FD7A-6B81-4A2C-A69F-E9E0FBC2131B}"/>
          </ac:graphicFrameMkLst>
        </pc:graphicFrameChg>
        <pc:picChg chg="add mod">
          <ac:chgData name="Wind-Larsen, Taus (SGRE OF TE NAC TD SYC)" userId="909f4c56-f0bd-48e2-b5e6-c85fd07560b7" providerId="ADAL" clId="{CAC997D2-2045-4FBD-88AA-2930340D2AF4}" dt="2022-02-11T15:05:08.483" v="36794" actId="14100"/>
          <ac:picMkLst>
            <pc:docMk/>
            <pc:sldMk cId="2138284291" sldId="344"/>
            <ac:picMk id="3074" creationId="{E1EC379D-C155-4AF0-ACEB-0FC827D8B7FB}"/>
          </ac:picMkLst>
        </pc:picChg>
      </pc:sldChg>
      <pc:sldMasterChg chg="modSp mod">
        <pc:chgData name="Wind-Larsen, Taus (SGRE OF TE NAC TD SYC)" userId="909f4c56-f0bd-48e2-b5e6-c85fd07560b7" providerId="ADAL" clId="{CAC997D2-2045-4FBD-88AA-2930340D2AF4}" dt="2022-02-11T09:56:52.868" v="1031" actId="20577"/>
        <pc:sldMasterMkLst>
          <pc:docMk/>
          <pc:sldMasterMk cId="72354714" sldId="2147483648"/>
        </pc:sldMasterMkLst>
        <pc:spChg chg="mod">
          <ac:chgData name="Wind-Larsen, Taus (SGRE OF TE NAC TD SYC)" userId="909f4c56-f0bd-48e2-b5e6-c85fd07560b7" providerId="ADAL" clId="{CAC997D2-2045-4FBD-88AA-2930340D2AF4}" dt="2022-02-11T09:56:52.868" v="1031" actId="20577"/>
          <ac:spMkLst>
            <pc:docMk/>
            <pc:sldMasterMk cId="72354714" sldId="2147483648"/>
            <ac:spMk id="10" creationId="{00000000-0000-0000-0000-000000000000}"/>
          </ac:spMkLst>
        </pc:spChg>
      </pc:sldMasterChg>
      <pc:sldMasterChg chg="del delSldLayout">
        <pc:chgData name="Wind-Larsen, Taus (SGRE OF TE NAC TD SYC)" userId="909f4c56-f0bd-48e2-b5e6-c85fd07560b7" providerId="ADAL" clId="{CAC997D2-2045-4FBD-88AA-2930340D2AF4}" dt="2022-02-11T08:27:00.048" v="237" actId="47"/>
        <pc:sldMasterMkLst>
          <pc:docMk/>
          <pc:sldMasterMk cId="3715686928" sldId="2147483684"/>
        </pc:sldMasterMkLst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232989660" sldId="214748368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25831905" sldId="214748368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539714103" sldId="214748368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509662867" sldId="214748368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504210863" sldId="214748368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914142637" sldId="214748369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903509852" sldId="2147483691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9973358" sldId="2147483692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871977149" sldId="2147483693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745535760" sldId="2147483694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1111015061" sldId="2147483695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847143002" sldId="2147483696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105587442" sldId="2147483697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3098220382" sldId="2147483698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134576021" sldId="2147483699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440871879" sldId="2147483700"/>
          </pc:sldLayoutMkLst>
        </pc:sldLayoutChg>
        <pc:sldLayoutChg chg="del">
          <pc:chgData name="Wind-Larsen, Taus (SGRE OF TE NAC TD SYC)" userId="909f4c56-f0bd-48e2-b5e6-c85fd07560b7" providerId="ADAL" clId="{CAC997D2-2045-4FBD-88AA-2930340D2AF4}" dt="2022-02-11T08:27:00.048" v="237" actId="47"/>
          <pc:sldLayoutMkLst>
            <pc:docMk/>
            <pc:sldMasterMk cId="3715686928" sldId="2147483684"/>
            <pc:sldLayoutMk cId="2722380198" sldId="2147483701"/>
          </pc:sldLayoutMkLst>
        </pc:sldLayoutChg>
      </pc:sldMasterChg>
    </pc:docChg>
  </pc:docChgLst>
  <pc:docChgLst>
    <pc:chgData name="Simmelkjaer, Pia Butzkowsky (SGRE SE SP&amp;S SO SOM NE&amp;ME)" userId="S::pia.simmelkjaer@siemensgamesa.com::ecd52c23-7eb3-48b2-8414-fa14d3e833f8" providerId="AD" clId="Web-{AE4BE878-7A67-CEDB-52BD-7BA5E1A612E3}"/>
    <pc:docChg chg="modSld">
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<pc:docMkLst>
        <pc:docMk/>
      </pc:docMkLst>
      <pc:sldChg chg="addSp delSp modSp">
        <p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  <pc:sldMkLst>
          <pc:docMk/>
          <pc:sldMk cId="3844324542" sldId="347"/>
        </pc:sldMkLst>
        <pc:sp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43:21.694" v="123" actId="20577"/>
          <ac:spMkLst>
            <pc:docMk/>
            <pc:sldMk cId="3844324542" sldId="347"/>
            <ac:spMk id="2" creationId="{54329A1D-5733-4D01-B538-36178393AF26}"/>
          </ac:spMkLst>
        </pc:spChg>
        <pc:spChg chg="add mod">
          <ac:chgData name="Simmelkjaer, Pia Butzkowsky (SGRE SE SP&amp;S SO SOM NE&amp;ME)" userId="S::pia.simmelkjaer@siemensgamesa.com::ecd52c23-7eb3-48b2-8414-fa14d3e833f8" providerId="AD" clId="Web-{AE4BE878-7A67-CEDB-52BD-7BA5E1A612E3}" dt="2023-02-03T13:58:49.712" v="210" actId="20577"/>
          <ac:spMkLst>
            <pc:docMk/>
            <pc:sldMk cId="3844324542" sldId="347"/>
            <ac:spMk id="3" creationId="{C3C2D612-1E53-8EF1-4516-12170CF5D44C}"/>
          </ac:spMkLst>
        </pc:spChg>
        <pc:sp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04:56.674" v="5"/>
          <ac:spMkLst>
            <pc:docMk/>
            <pc:sldMk cId="3844324542" sldId="347"/>
            <ac:spMk id="8" creationId="{A0302FB0-9B8D-32FE-115E-B90F5E822026}"/>
          </ac:spMkLst>
        </pc:spChg>
        <pc:spChg chg="del">
          <ac:chgData name="Simmelkjaer, Pia Butzkowsky (SGRE SE SP&amp;S SO SOM NE&amp;ME)" userId="S::pia.simmelkjaer@siemensgamesa.com::ecd52c23-7eb3-48b2-8414-fa14d3e833f8" providerId="AD" clId="Web-{AE4BE878-7A67-CEDB-52BD-7BA5E1A612E3}" dt="2023-02-03T13:05:04.690" v="6"/>
          <ac:spMkLst>
            <pc:docMk/>
            <pc:sldMk cId="3844324542" sldId="347"/>
            <ac:spMk id="10" creationId="{D8401354-1951-4A22-A8A3-B5C1C3B1823D}"/>
          </ac:spMkLst>
        </pc:spChg>
        <pc:picChg chg="add del mod">
          <ac:chgData name="Simmelkjaer, Pia Butzkowsky (SGRE SE SP&amp;S SO SOM NE&amp;ME)" userId="S::pia.simmelkjaer@siemensgamesa.com::ecd52c23-7eb3-48b2-8414-fa14d3e833f8" providerId="AD" clId="Web-{AE4BE878-7A67-CEDB-52BD-7BA5E1A612E3}" dt="2023-02-03T13:21:24.100" v="9"/>
          <ac:picMkLst>
            <pc:docMk/>
            <pc:sldMk cId="3844324542" sldId="347"/>
            <ac:picMk id="9" creationId="{8336D56E-6E45-923C-7283-DCE9090B4A45}"/>
          </ac:picMkLst>
        </pc:picChg>
        <pc:picChg chg="add mod">
          <ac:chgData name="Simmelkjaer, Pia Butzkowsky (SGRE SE SP&amp;S SO SOM NE&amp;ME)" userId="S::pia.simmelkjaer@siemensgamesa.com::ecd52c23-7eb3-48b2-8414-fa14d3e833f8" providerId="AD" clId="Web-{AE4BE878-7A67-CEDB-52BD-7BA5E1A612E3}" dt="2023-02-03T13:48:04.204" v="157" actId="1076"/>
          <ac:picMkLst>
            <pc:docMk/>
            <pc:sldMk cId="3844324542" sldId="347"/>
            <ac:picMk id="11" creationId="{9C7AEF6E-992C-0F4E-DD35-C64A56B44871}"/>
          </ac:picMkLst>
        </pc:picChg>
      </pc:sldChg>
    </pc:docChg>
  </pc:docChgLst>
  <pc:docChgLst>
    <pc:chgData name="Lund, Vibeke (SGRE COG N P M&amp;H)" userId="S::vibeke.westenholz@siemensgamesa.com::be2c167c-cc21-4c23-92b1-78ba209712f0" providerId="AD" clId="Web-{DC4AE7BB-57C9-0B41-F5C1-FEB06F36BE0F}"/>
    <pc:docChg chg="modSld">
      <pc:chgData name="Lund, Vibeke (SGRE COG N P M&amp;H)" userId="S::vibeke.westenholz@siemensgamesa.com::be2c167c-cc21-4c23-92b1-78ba209712f0" providerId="AD" clId="Web-{DC4AE7BB-57C9-0B41-F5C1-FEB06F36BE0F}" dt="2023-02-06T06:24:29.139" v="3" actId="20577"/>
      <pc:docMkLst>
        <pc:docMk/>
      </pc:docMkLst>
      <pc:sldChg chg="modSp">
        <pc:chgData name="Lund, Vibeke (SGRE COG N P M&amp;H)" userId="S::vibeke.westenholz@siemensgamesa.com::be2c167c-cc21-4c23-92b1-78ba209712f0" providerId="AD" clId="Web-{DC4AE7BB-57C9-0B41-F5C1-FEB06F36BE0F}" dt="2023-02-06T06:24:29.139" v="3" actId="20577"/>
        <pc:sldMkLst>
          <pc:docMk/>
          <pc:sldMk cId="3563952106" sldId="284"/>
        </pc:sldMkLst>
        <pc:spChg chg="mod">
          <ac:chgData name="Lund, Vibeke (SGRE COG N P M&amp;H)" userId="S::vibeke.westenholz@siemensgamesa.com::be2c167c-cc21-4c23-92b1-78ba209712f0" providerId="AD" clId="Web-{DC4AE7BB-57C9-0B41-F5C1-FEB06F36BE0F}" dt="2023-02-06T06:24:29.139" v="3" actId="20577"/>
          <ac:spMkLst>
            <pc:docMk/>
            <pc:sldMk cId="3563952106" sldId="284"/>
            <ac:spMk id="6" creationId="{ECCB7D8A-828C-4A5A-87D9-D3FD263901E9}"/>
          </ac:spMkLst>
        </pc:spChg>
      </pc:sldChg>
    </pc:docChg>
  </pc:docChgLst>
  <pc:docChgLst>
    <pc:chgData name="Schadwinkel, Tabea (SGRE F ON NE&amp;ME PM PD2)" userId="S::tabea.schadwinkel@siemensgamesa.com::1ebe15d8-8799-439a-b1b7-c2534eb557bc" providerId="AD" clId="Web-{DE321735-CC43-3BAC-E8EB-5E1D859EBF19}"/>
    <pc:docChg chg="modSld">
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<pc:docMkLst>
        <pc:docMk/>
      </pc:docMkLst>
      <pc:sldChg chg="addSp delSp modSp">
        <pc:chgData name="Schadwinkel, Tabea (SGRE F ON NE&amp;ME PM PD2)" userId="S::tabea.schadwinkel@siemensgamesa.com::1ebe15d8-8799-439a-b1b7-c2534eb557bc" providerId="AD" clId="Web-{DE321735-CC43-3BAC-E8EB-5E1D859EBF19}" dt="2022-02-23T15:12:18.688" v="1" actId="14100"/>
        <pc:sldMkLst>
          <pc:docMk/>
          <pc:sldMk cId="3047106097" sldId="335"/>
        </pc:sldMkLst>
        <pc:spChg chg="del">
          <ac:chgData name="Schadwinkel, Tabea (SGRE F ON NE&amp;ME PM PD2)" userId="S::tabea.schadwinkel@siemensgamesa.com::1ebe15d8-8799-439a-b1b7-c2534eb557bc" providerId="AD" clId="Web-{DE321735-CC43-3BAC-E8EB-5E1D859EBF19}" dt="2022-02-23T15:12:12.297" v="0"/>
          <ac:spMkLst>
            <pc:docMk/>
            <pc:sldMk cId="3047106097" sldId="335"/>
            <ac:spMk id="8" creationId="{A313AF80-BE30-4ACF-A4E7-90D38259DC35}"/>
          </ac:spMkLst>
        </pc:spChg>
        <pc:picChg chg="add mod ord">
          <ac:chgData name="Schadwinkel, Tabea (SGRE F ON NE&amp;ME PM PD2)" userId="S::tabea.schadwinkel@siemensgamesa.com::1ebe15d8-8799-439a-b1b7-c2534eb557bc" providerId="AD" clId="Web-{DE321735-CC43-3BAC-E8EB-5E1D859EBF19}" dt="2022-02-23T15:12:18.688" v="1" actId="14100"/>
          <ac:picMkLst>
            <pc:docMk/>
            <pc:sldMk cId="3047106097" sldId="335"/>
            <ac:picMk id="3" creationId="{08C668FB-99A0-43E6-9D49-300FA4436BBE}"/>
          </ac:picMkLst>
        </pc:picChg>
      </pc:sldChg>
    </pc:docChg>
  </pc:docChgLst>
  <pc:docChgLst>
    <pc:chgData name="Espersen, Birgitte Hemdorff (SGRE COG N P PD&amp;E CC&amp;S)" userId="S::birgitte.espersen@siemensgamesa.com::4cdf33e7-3ce5-4877-990d-03f5377e743b" providerId="AD" clId="Web-{4B1C2154-0B11-1173-829C-AE4228324062}"/>
    <pc:docChg chg="modSld">
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<pc:docMkLst>
        <pc:docMk/>
      </pc:docMkLst>
      <pc:sldChg chg="addSp delSp modSp">
        <pc:chgData name="Espersen, Birgitte Hemdorff (SGRE COG N P PD&amp;E CC&amp;S)" userId="S::birgitte.espersen@siemensgamesa.com::4cdf33e7-3ce5-4877-990d-03f5377e743b" providerId="AD" clId="Web-{4B1C2154-0B11-1173-829C-AE4228324062}" dt="2023-02-03T13:50:55.560" v="1909"/>
        <pc:sldMkLst>
          <pc:docMk/>
          <pc:sldMk cId="1286349833" sldId="292"/>
        </pc:sldMkLst>
        <pc:spChg chg="del mod">
          <ac:chgData name="Espersen, Birgitte Hemdorff (SGRE COG N P PD&amp;E CC&amp;S)" userId="S::birgitte.espersen@siemensgamesa.com::4cdf33e7-3ce5-4877-990d-03f5377e743b" providerId="AD" clId="Web-{4B1C2154-0B11-1173-829C-AE4228324062}" dt="2023-02-03T13:02:06.471" v="61"/>
          <ac:spMkLst>
            <pc:docMk/>
            <pc:sldMk cId="1286349833" sldId="292"/>
            <ac:spMk id="8" creationId="{25C1D783-65F8-4148-BD00-88D4A666414C}"/>
          </ac:spMkLst>
        </pc:spChg>
        <pc:sp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40:05.462" v="1121"/>
          <ac:spMkLst>
            <pc:docMk/>
            <pc:sldMk cId="1286349833" sldId="292"/>
            <ac:spMk id="11" creationId="{F278753F-C93A-E127-9276-83C7AC23F4EF}"/>
          </ac:spMkLst>
        </pc:spChg>
        <pc:sp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39:49.164" v="1108"/>
          <ac:spMkLst>
            <pc:docMk/>
            <pc:sldMk cId="1286349833" sldId="292"/>
            <ac:spMk id="14" creationId="{A3B9D15E-F9AA-9651-8B34-297B6E4ADAA1}"/>
          </ac:spMkLst>
        </pc:spChg>
        <pc:spChg chg="mod">
          <ac:chgData name="Espersen, Birgitte Hemdorff (SGRE COG N P PD&amp;E CC&amp;S)" userId="S::birgitte.espersen@siemensgamesa.com::4cdf33e7-3ce5-4877-990d-03f5377e743b" providerId="AD" clId="Web-{4B1C2154-0B11-1173-829C-AE4228324062}" dt="2023-02-03T13:47:56.445" v="1585" actId="20577"/>
          <ac:spMkLst>
            <pc:docMk/>
            <pc:sldMk cId="1286349833" sldId="292"/>
            <ac:spMk id="24" creationId="{791BE622-C43F-4F53-9EF7-AE95C277AB41}"/>
          </ac:spMkLst>
        </pc:spChg>
        <pc:graphicFrameChg chg="mod modGraphic">
          <ac:chgData name="Espersen, Birgitte Hemdorff (SGRE COG N P PD&amp;E CC&amp;S)" userId="S::birgitte.espersen@siemensgamesa.com::4cdf33e7-3ce5-4877-990d-03f5377e743b" providerId="AD" clId="Web-{4B1C2154-0B11-1173-829C-AE4228324062}" dt="2023-02-03T13:50:55.560" v="1909"/>
          <ac:graphicFrameMkLst>
            <pc:docMk/>
            <pc:sldMk cId="1286349833" sldId="292"/>
            <ac:graphicFrameMk id="3" creationId="{D488FA64-A4FC-4547-943F-86CB8849E592}"/>
          </ac:graphicFrameMkLst>
        </pc:graphicFrameChg>
        <pc:graphicFrameChg chg="add del mod modGraphic">
          <ac:chgData name="Espersen, Birgitte Hemdorff (SGRE COG N P PD&amp;E CC&amp;S)" userId="S::birgitte.espersen@siemensgamesa.com::4cdf33e7-3ce5-4877-990d-03f5377e743b" providerId="AD" clId="Web-{4B1C2154-0B11-1173-829C-AE4228324062}" dt="2023-02-03T13:40:05.462" v="1122"/>
          <ac:graphicFrameMkLst>
            <pc:docMk/>
            <pc:sldMk cId="1286349833" sldId="292"/>
            <ac:graphicFrameMk id="10" creationId="{A31A58F7-3904-1333-7A7E-C1007D69580B}"/>
          </ac:graphicFrameMkLst>
        </pc:graphicFrameChg>
        <pc:graphicFrameChg chg="add del mod modGraphic">
          <ac:chgData name="Espersen, Birgitte Hemdorff (SGRE COG N P PD&amp;E CC&amp;S)" userId="S::birgitte.espersen@siemensgamesa.com::4cdf33e7-3ce5-4877-990d-03f5377e743b" providerId="AD" clId="Web-{4B1C2154-0B11-1173-829C-AE4228324062}" dt="2023-02-03T13:39:49.164" v="1109"/>
          <ac:graphicFrameMkLst>
            <pc:docMk/>
            <pc:sldMk cId="1286349833" sldId="292"/>
            <ac:graphicFrameMk id="13" creationId="{12372440-59C1-B3A5-33A2-9E115883E5BF}"/>
          </ac:graphicFrameMkLst>
        </pc:graphicFrameChg>
        <pc:graphicFrameChg chg="add del mod">
          <ac:chgData name="Espersen, Birgitte Hemdorff (SGRE COG N P PD&amp;E CC&amp;S)" userId="S::birgitte.espersen@siemensgamesa.com::4cdf33e7-3ce5-4877-990d-03f5377e743b" providerId="AD" clId="Web-{4B1C2154-0B11-1173-829C-AE4228324062}" dt="2023-02-03T13:39:39.461" v="1096"/>
          <ac:graphicFrameMkLst>
            <pc:docMk/>
            <pc:sldMk cId="1286349833" sldId="292"/>
            <ac:graphicFrameMk id="16" creationId="{B496EAAF-0A97-E9BC-CC53-5F8DEB7EB87F}"/>
          </ac:graphicFrameMkLst>
        </pc:graphicFrameChg>
      </pc:sldChg>
    </pc:docChg>
  </pc:docChgLst>
  <pc:docChgLst>
    <pc:chgData name="Jakobsen, Lone (SGRE COG N SCL SM BDK)" userId="S::lone.jakobsen@siemensgamesa.com::b97f7784-7dac-40b5-a391-efabebb228d3" providerId="AD" clId="Web-{DA2D4C95-2C44-01E0-E759-A5C01E79D3A7}"/>
    <pc:docChg chg="modSld">
      <pc:chgData name="Jakobsen, Lone (SGRE COG N SCL SM BDK)" userId="S::lone.jakobsen@siemensgamesa.com::b97f7784-7dac-40b5-a391-efabebb228d3" providerId="AD" clId="Web-{DA2D4C95-2C44-01E0-E759-A5C01E79D3A7}" dt="2023-02-03T13:01:39.279" v="58" actId="20577"/>
      <pc:docMkLst>
        <pc:docMk/>
      </pc:docMkLst>
      <pc:sldChg chg="modSp">
        <pc:chgData name="Jakobsen, Lone (SGRE COG N SCL SM BDK)" userId="S::lone.jakobsen@siemensgamesa.com::b97f7784-7dac-40b5-a391-efabebb228d3" providerId="AD" clId="Web-{DA2D4C95-2C44-01E0-E759-A5C01E79D3A7}" dt="2023-02-03T13:01:39.279" v="58" actId="20577"/>
        <pc:sldMkLst>
          <pc:docMk/>
          <pc:sldMk cId="1371835148" sldId="329"/>
        </pc:sldMkLst>
        <pc:spChg chg="mod">
          <ac:chgData name="Jakobsen, Lone (SGRE COG N SCL SM BDK)" userId="S::lone.jakobsen@siemensgamesa.com::b97f7784-7dac-40b5-a391-efabebb228d3" providerId="AD" clId="Web-{DA2D4C95-2C44-01E0-E759-A5C01E79D3A7}" dt="2023-02-03T13:01:39.279" v="58" actId="20577"/>
          <ac:spMkLst>
            <pc:docMk/>
            <pc:sldMk cId="1371835148" sldId="329"/>
            <ac:spMk id="6" creationId="{ECCB7D8A-828C-4A5A-87D9-D3FD263901E9}"/>
          </ac:spMkLst>
        </pc:spChg>
      </pc:sldChg>
      <pc:sldChg chg="modSp">
        <pc:chgData name="Jakobsen, Lone (SGRE COG N SCL SM BDK)" userId="S::lone.jakobsen@siemensgamesa.com::b97f7784-7dac-40b5-a391-efabebb228d3" providerId="AD" clId="Web-{DA2D4C95-2C44-01E0-E759-A5C01E79D3A7}" dt="2023-02-03T13:01:01.574" v="43" actId="20577"/>
        <pc:sldMkLst>
          <pc:docMk/>
          <pc:sldMk cId="3839263946" sldId="330"/>
        </pc:sldMkLst>
        <pc:spChg chg="mod">
          <ac:chgData name="Jakobsen, Lone (SGRE COG N SCL SM BDK)" userId="S::lone.jakobsen@siemensgamesa.com::b97f7784-7dac-40b5-a391-efabebb228d3" providerId="AD" clId="Web-{DA2D4C95-2C44-01E0-E759-A5C01E79D3A7}" dt="2023-02-03T13:01:01.574" v="43" actId="20577"/>
          <ac:spMkLst>
            <pc:docMk/>
            <pc:sldMk cId="3839263946" sldId="330"/>
            <ac:spMk id="6" creationId="{ECCB7D8A-828C-4A5A-87D9-D3FD263901E9}"/>
          </ac:spMkLst>
        </pc:spChg>
      </pc:sldChg>
    </pc:docChg>
  </pc:docChgLst>
  <pc:docChgLst>
    <pc:chgData name="Schadwinkel, Tabea (SGRE ON NE&amp;ME PM PM-PD2)" userId="34305b5f-5da0-45ec-9d22-513723642f31" providerId="ADAL" clId="{83ECF2E1-C2CE-49E2-B363-C6D045504275}"/>
    <pc:docChg chg="undo custSel modSld">
      <pc:chgData name="Schadwinkel, Tabea (SGRE ON NE&amp;ME PM PM-PD2)" userId="34305b5f-5da0-45ec-9d22-513723642f31" providerId="ADAL" clId="{83ECF2E1-C2CE-49E2-B363-C6D045504275}" dt="2023-02-23T15:34:17.940" v="449" actId="20577"/>
      <pc:docMkLst>
        <pc:docMk/>
      </pc:docMkLst>
      <pc:sldChg chg="modSp mod">
        <pc:chgData name="Schadwinkel, Tabea (SGRE ON NE&amp;ME PM PM-PD2)" userId="34305b5f-5da0-45ec-9d22-513723642f31" providerId="ADAL" clId="{83ECF2E1-C2CE-49E2-B363-C6D045504275}" dt="2023-02-23T15:34:17.940" v="449" actId="20577"/>
        <pc:sldMkLst>
          <pc:docMk/>
          <pc:sldMk cId="3672746191" sldId="313"/>
        </pc:sldMkLst>
        <pc:spChg chg="mod">
          <ac:chgData name="Schadwinkel, Tabea (SGRE ON NE&amp;ME PM PM-PD2)" userId="34305b5f-5da0-45ec-9d22-513723642f31" providerId="ADAL" clId="{83ECF2E1-C2CE-49E2-B363-C6D045504275}" dt="2023-02-23T15:34:17.940" v="449" actId="20577"/>
          <ac:spMkLst>
            <pc:docMk/>
            <pc:sldMk cId="3672746191" sldId="313"/>
            <ac:spMk id="11" creationId="{A6A93498-D709-4606-93BB-0C3A4FCE74B9}"/>
          </ac:spMkLst>
        </pc:spChg>
      </pc:sldChg>
      <pc:sldChg chg="addSp delSp modSp mod modAnim">
        <pc:chgData name="Schadwinkel, Tabea (SGRE ON NE&amp;ME PM PM-PD2)" userId="34305b5f-5da0-45ec-9d22-513723642f31" providerId="ADAL" clId="{83ECF2E1-C2CE-49E2-B363-C6D045504275}" dt="2023-02-23T08:44:32.550" v="432"/>
        <pc:sldMkLst>
          <pc:docMk/>
          <pc:sldMk cId="3047106097" sldId="335"/>
        </pc:sldMkLst>
        <pc:spChg chg="mod ord">
          <ac:chgData name="Schadwinkel, Tabea (SGRE ON NE&amp;ME PM PM-PD2)" userId="34305b5f-5da0-45ec-9d22-513723642f31" providerId="ADAL" clId="{83ECF2E1-C2CE-49E2-B363-C6D045504275}" dt="2023-02-23T08:44:05.648" v="427" actId="1076"/>
          <ac:spMkLst>
            <pc:docMk/>
            <pc:sldMk cId="3047106097" sldId="335"/>
            <ac:spMk id="2" creationId="{54329A1D-5733-4D01-B538-36178393AF26}"/>
          </ac:spMkLst>
        </pc:spChg>
        <pc:spChg chg="mod ord">
          <ac:chgData name="Schadwinkel, Tabea (SGRE ON NE&amp;ME PM PM-PD2)" userId="34305b5f-5da0-45ec-9d22-513723642f31" providerId="ADAL" clId="{83ECF2E1-C2CE-49E2-B363-C6D045504275}" dt="2023-02-23T08:34:16.761" v="50"/>
          <ac:spMkLst>
            <pc:docMk/>
            <pc:sldMk cId="3047106097" sldId="335"/>
            <ac:spMk id="4" creationId="{0AB29B1F-D274-4F54-A777-B1BCA3CBCEE3}"/>
          </ac:spMkLst>
        </pc:spChg>
        <pc:spChg chg="mod ord">
          <ac:chgData name="Schadwinkel, Tabea (SGRE ON NE&amp;ME PM PM-PD2)" userId="34305b5f-5da0-45ec-9d22-513723642f31" providerId="ADAL" clId="{83ECF2E1-C2CE-49E2-B363-C6D045504275}" dt="2023-02-23T08:34:16.762" v="52"/>
          <ac:spMkLst>
            <pc:docMk/>
            <pc:sldMk cId="3047106097" sldId="335"/>
            <ac:spMk id="5" creationId="{29A9CEE5-7D8B-43B0-B874-E8865ACD0C5E}"/>
          </ac:spMkLst>
        </pc:spChg>
        <pc:spChg chg="del mod ord">
          <ac:chgData name="Schadwinkel, Tabea (SGRE ON NE&amp;ME PM PM-PD2)" userId="34305b5f-5da0-45ec-9d22-513723642f31" providerId="ADAL" clId="{83ECF2E1-C2CE-49E2-B363-C6D045504275}" dt="2023-02-23T08:34:20.090" v="57" actId="478"/>
          <ac:spMkLst>
            <pc:docMk/>
            <pc:sldMk cId="3047106097" sldId="335"/>
            <ac:spMk id="6" creationId="{9A669856-75AB-4CC8-9855-CA4419B896CD}"/>
          </ac:spMkLst>
        </pc:spChg>
        <pc:spChg chg="add del mod modVis">
          <ac:chgData name="Schadwinkel, Tabea (SGRE ON NE&amp;ME PM PM-PD2)" userId="34305b5f-5da0-45ec-9d22-513723642f31" providerId="ADAL" clId="{83ECF2E1-C2CE-49E2-B363-C6D045504275}" dt="2023-02-23T08:34:09.507" v="40"/>
          <ac:spMkLst>
            <pc:docMk/>
            <pc:sldMk cId="3047106097" sldId="335"/>
            <ac:spMk id="8" creationId="{F9458EB3-AFF2-4FD0-AA9B-7C5B4FF4EFEB}"/>
          </ac:spMkLst>
        </pc:spChg>
        <pc:spChg chg="add del mod ord">
          <ac:chgData name="Schadwinkel, Tabea (SGRE ON NE&amp;ME PM PM-PD2)" userId="34305b5f-5da0-45ec-9d22-513723642f31" providerId="ADAL" clId="{83ECF2E1-C2CE-49E2-B363-C6D045504275}" dt="2023-02-23T08:34:42.385" v="58" actId="1032"/>
          <ac:spMkLst>
            <pc:docMk/>
            <pc:sldMk cId="3047106097" sldId="335"/>
            <ac:spMk id="10" creationId="{00E94E40-A36B-43D6-AD7C-237A32E16DC0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39:24.228" v="238" actId="113"/>
          <ac:spMkLst>
            <pc:docMk/>
            <pc:sldMk cId="3047106097" sldId="335"/>
            <ac:spMk id="13" creationId="{852C7564-BF1F-4D46-B759-0D248B6DB514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39:36.673" v="244" actId="20577"/>
          <ac:spMkLst>
            <pc:docMk/>
            <pc:sldMk cId="3047106097" sldId="335"/>
            <ac:spMk id="14" creationId="{0BC5D5D2-4C84-4A0E-8877-03BE9DDE9E6C}"/>
          </ac:spMkLst>
        </pc:spChg>
        <pc:spChg chg="add mod">
          <ac:chgData name="Schadwinkel, Tabea (SGRE ON NE&amp;ME PM PM-PD2)" userId="34305b5f-5da0-45ec-9d22-513723642f31" providerId="ADAL" clId="{83ECF2E1-C2CE-49E2-B363-C6D045504275}" dt="2023-02-23T08:43:06.588" v="347" actId="20577"/>
          <ac:spMkLst>
            <pc:docMk/>
            <pc:sldMk cId="3047106097" sldId="335"/>
            <ac:spMk id="16" creationId="{FCE442CA-2F84-41E1-913B-00044C11182D}"/>
          </ac:spMkLst>
        </pc:spChg>
        <pc:graphicFrameChg chg="mod">
          <ac:chgData name="Schadwinkel, Tabea (SGRE ON NE&amp;ME PM PM-PD2)" userId="34305b5f-5da0-45ec-9d22-513723642f31" providerId="ADAL" clId="{83ECF2E1-C2CE-49E2-B363-C6D045504275}" dt="2023-02-23T08:44:05.795" v="429"/>
          <ac:graphicFrameMkLst>
            <pc:docMk/>
            <pc:sldMk cId="3047106097" sldId="335"/>
            <ac:graphicFrameMk id="7" creationId="{C2E1FD7A-6B81-4A2C-A69F-E9E0FBC2131B}"/>
          </ac:graphicFrameMkLst>
        </pc:graphicFrameChg>
        <pc:graphicFrameChg chg="add mod modGraphic">
          <ac:chgData name="Schadwinkel, Tabea (SGRE ON NE&amp;ME PM PM-PD2)" userId="34305b5f-5da0-45ec-9d22-513723642f31" providerId="ADAL" clId="{83ECF2E1-C2CE-49E2-B363-C6D045504275}" dt="2023-02-23T08:36:51.012" v="230" actId="14100"/>
          <ac:graphicFrameMkLst>
            <pc:docMk/>
            <pc:sldMk cId="3047106097" sldId="335"/>
            <ac:graphicFrameMk id="11" creationId="{55BA7B25-A22D-4660-B04C-51FB5A552DC8}"/>
          </ac:graphicFrameMkLst>
        </pc:graphicFrameChg>
        <pc:graphicFrameChg chg="add mod">
          <ac:chgData name="Schadwinkel, Tabea (SGRE ON NE&amp;ME PM PM-PD2)" userId="34305b5f-5da0-45ec-9d22-513723642f31" providerId="ADAL" clId="{83ECF2E1-C2CE-49E2-B363-C6D045504275}" dt="2023-02-23T08:42:48.976" v="343" actId="20577"/>
          <ac:graphicFrameMkLst>
            <pc:docMk/>
            <pc:sldMk cId="3047106097" sldId="335"/>
            <ac:graphicFrameMk id="12" creationId="{B26726C8-E630-4CBE-B1D3-9F84DCA430CF}"/>
          </ac:graphicFrameMkLst>
        </pc:graphicFrameChg>
        <pc:graphicFrameChg chg="add mod">
          <ac:chgData name="Schadwinkel, Tabea (SGRE ON NE&amp;ME PM PM-PD2)" userId="34305b5f-5da0-45ec-9d22-513723642f31" providerId="ADAL" clId="{83ECF2E1-C2CE-49E2-B363-C6D045504275}" dt="2023-02-23T08:44:16.840" v="430" actId="12100"/>
          <ac:graphicFrameMkLst>
            <pc:docMk/>
            <pc:sldMk cId="3047106097" sldId="335"/>
            <ac:graphicFrameMk id="15" creationId="{766C85FF-4511-472E-A0FD-92584A4137B6}"/>
          </ac:graphicFrameMkLst>
        </pc:graphicFrameChg>
        <pc:picChg chg="del">
          <ac:chgData name="Schadwinkel, Tabea (SGRE ON NE&amp;ME PM PM-PD2)" userId="34305b5f-5da0-45ec-9d22-513723642f31" providerId="ADAL" clId="{83ECF2E1-C2CE-49E2-B363-C6D045504275}" dt="2023-02-23T08:34:11.317" v="43" actId="478"/>
          <ac:picMkLst>
            <pc:docMk/>
            <pc:sldMk cId="3047106097" sldId="335"/>
            <ac:picMk id="3" creationId="{08C668FB-99A0-43E6-9D49-300FA4436BBE}"/>
          </ac:picMkLst>
        </pc:picChg>
      </pc:sldChg>
    </pc:docChg>
  </pc:docChgLst>
  <pc:docChgLst>
    <pc:chgData name="Wind-Larsen, Taus (SGRE TE N NT SYC&amp;MAT)" userId="S::taus.wind-larsen@siemensgamesa.com::909f4c56-f0bd-48e2-b5e6-c85fd07560b7" providerId="AD" clId="Web-{76DFC972-2FBE-CFF4-3A78-85B972111E7D}"/>
    <pc:docChg chg="modSld">
      <pc:chgData name="Wind-Larsen, Taus (SGRE TE N NT SYC&amp;MAT)" userId="S::taus.wind-larsen@siemensgamesa.com::909f4c56-f0bd-48e2-b5e6-c85fd07560b7" providerId="AD" clId="Web-{76DFC972-2FBE-CFF4-3A78-85B972111E7D}" dt="2023-02-03T15:49:01.406" v="78" actId="20577"/>
      <pc:docMkLst>
        <pc:docMk/>
      </pc:docMkLst>
      <pc:sldChg chg="delSp modSp">
        <pc:chgData name="Wind-Larsen, Taus (SGRE TE N NT SYC&amp;MAT)" userId="S::taus.wind-larsen@siemensgamesa.com::909f4c56-f0bd-48e2-b5e6-c85fd07560b7" providerId="AD" clId="Web-{76DFC972-2FBE-CFF4-3A78-85B972111E7D}" dt="2023-02-03T15:48:44.030" v="74" actId="20577"/>
        <pc:sldMkLst>
          <pc:docMk/>
          <pc:sldMk cId="1468755633" sldId="299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5:47:07.934" v="12" actId="20577"/>
          <ac:spMkLst>
            <pc:docMk/>
            <pc:sldMk cId="1468755633" sldId="299"/>
            <ac:spMk id="4" creationId="{3F2A2BFC-49FE-4E81-A31B-E79625429A58}"/>
          </ac:spMkLst>
        </pc:spChg>
        <pc:spChg chg="del mod">
          <ac:chgData name="Wind-Larsen, Taus (SGRE TE N NT SYC&amp;MAT)" userId="S::taus.wind-larsen@siemensgamesa.com::909f4c56-f0bd-48e2-b5e6-c85fd07560b7" providerId="AD" clId="Web-{76DFC972-2FBE-CFF4-3A78-85B972111E7D}" dt="2023-02-03T15:47:14.778" v="14"/>
          <ac:spMkLst>
            <pc:docMk/>
            <pc:sldMk cId="1468755633" sldId="299"/>
            <ac:spMk id="7" creationId="{733B5226-3826-4D37-8729-8F40D2E858EA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8:44.030" v="74" actId="20577"/>
          <ac:spMkLst>
            <pc:docMk/>
            <pc:sldMk cId="1468755633" sldId="299"/>
            <ac:spMk id="9" creationId="{14CE2AEB-7EE8-473F-8D24-FDFEC13E6DB1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3:00:11.416" v="11" actId="1076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3:00:11.416" v="11" actId="1076"/>
          <ac:spMkLst>
            <pc:docMk/>
            <pc:sldMk cId="3672746191" sldId="313"/>
            <ac:spMk id="21" creationId="{19A9172B-7BFC-4E11-BDE5-5904FE9AB29E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76DFC972-2FBE-CFF4-3A78-85B972111E7D}" dt="2023-02-03T15:49:01.406" v="78" actId="20577"/>
        <pc:sldMkLst>
          <pc:docMk/>
          <pc:sldMk cId="995067089" sldId="336"/>
        </pc:sldMkLst>
        <pc:spChg chg="mod">
          <ac:chgData name="Wind-Larsen, Taus (SGRE TE N NT SYC&amp;MAT)" userId="S::taus.wind-larsen@siemensgamesa.com::909f4c56-f0bd-48e2-b5e6-c85fd07560b7" providerId="AD" clId="Web-{76DFC972-2FBE-CFF4-3A78-85B972111E7D}" dt="2023-02-03T12:58:33.726" v="9" actId="20577"/>
          <ac:spMkLst>
            <pc:docMk/>
            <pc:sldMk cId="995067089" sldId="336"/>
            <ac:spMk id="3" creationId="{8E0AAC11-3202-46A9-8EB4-8DF0337F24B7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8:58.171" v="76" actId="20577"/>
          <ac:spMkLst>
            <pc:docMk/>
            <pc:sldMk cId="995067089" sldId="336"/>
            <ac:spMk id="12" creationId="{8273F8FE-1ECB-4292-8C42-EE6EB0F9119A}"/>
          </ac:spMkLst>
        </pc:spChg>
        <pc:spChg chg="mod">
          <ac:chgData name="Wind-Larsen, Taus (SGRE TE N NT SYC&amp;MAT)" userId="S::taus.wind-larsen@siemensgamesa.com::909f4c56-f0bd-48e2-b5e6-c85fd07560b7" providerId="AD" clId="Web-{76DFC972-2FBE-CFF4-3A78-85B972111E7D}" dt="2023-02-03T15:49:01.406" v="78" actId="20577"/>
          <ac:spMkLst>
            <pc:docMk/>
            <pc:sldMk cId="995067089" sldId="336"/>
            <ac:spMk id="13" creationId="{D4570FEC-9B18-4156-AC8E-5A2BCB7D44B7}"/>
          </ac:spMkLst>
        </pc:spChg>
      </pc:sldChg>
    </pc:docChg>
  </pc:docChgLst>
  <pc:docChgLst>
    <pc:chgData name="Lund, Vibeke (SGRE COG N P M&amp;H)" userId="S::vibeke.westenholz@siemensgamesa.com::be2c167c-cc21-4c23-92b1-78ba209712f0" providerId="AD" clId="Web-{6389E935-BC87-261A-CE51-4C97D1EA9E6A}"/>
    <pc:docChg chg="modSld sldOrd">
      <pc:chgData name="Lund, Vibeke (SGRE COG N P M&amp;H)" userId="S::vibeke.westenholz@siemensgamesa.com::be2c167c-cc21-4c23-92b1-78ba209712f0" providerId="AD" clId="Web-{6389E935-BC87-261A-CE51-4C97D1EA9E6A}" dt="2023-02-08T06:50:02.782" v="3"/>
      <pc:docMkLst>
        <pc:docMk/>
      </pc:docMkLst>
      <pc:sldChg chg="ord">
        <pc:chgData name="Lund, Vibeke (SGRE COG N P M&amp;H)" userId="S::vibeke.westenholz@siemensgamesa.com::be2c167c-cc21-4c23-92b1-78ba209712f0" providerId="AD" clId="Web-{6389E935-BC87-261A-CE51-4C97D1EA9E6A}" dt="2023-02-08T06:50:02.782" v="3"/>
        <pc:sldMkLst>
          <pc:docMk/>
          <pc:sldMk cId="469205521" sldId="260"/>
        </pc:sldMkLst>
      </pc:sldChg>
      <pc:sldChg chg="modSp">
        <pc:chgData name="Lund, Vibeke (SGRE COG N P M&amp;H)" userId="S::vibeke.westenholz@siemensgamesa.com::be2c167c-cc21-4c23-92b1-78ba209712f0" providerId="AD" clId="Web-{6389E935-BC87-261A-CE51-4C97D1EA9E6A}" dt="2023-02-08T06:36:34.520" v="1" actId="20577"/>
        <pc:sldMkLst>
          <pc:docMk/>
          <pc:sldMk cId="3176653745" sldId="296"/>
        </pc:sldMkLst>
        <pc:spChg chg="mod">
          <ac:chgData name="Lund, Vibeke (SGRE COG N P M&amp;H)" userId="S::vibeke.westenholz@siemensgamesa.com::be2c167c-cc21-4c23-92b1-78ba209712f0" providerId="AD" clId="Web-{6389E935-BC87-261A-CE51-4C97D1EA9E6A}" dt="2023-02-08T06:36:34.520" v="1" actId="20577"/>
          <ac:spMkLst>
            <pc:docMk/>
            <pc:sldMk cId="3176653745" sldId="296"/>
            <ac:spMk id="3" creationId="{A8EED0D6-AAEE-5666-403C-64B74F191C02}"/>
          </ac:spMkLst>
        </pc:spChg>
      </pc:sldChg>
    </pc:docChg>
  </pc:docChgLst>
  <pc:docChgLst>
    <pc:chgData name="Lynnerup, Michelle (SGRE SE R NE&amp;ME SP&amp;S RM)" userId="S::michelle.lynnerup@siemensgamesa.com::72c21a01-62b5-4fd6-8407-cdfcc0b436f1" providerId="AD" clId="Web-{BE289469-314E-53EF-D2E0-2B79ECADC97B}"/>
    <pc:docChg chg="addSld delSld modSld modSection">
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<pc:docMkLst>
        <pc:docMk/>
      </pc:docMkLst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<pc:sldMkLst>
          <pc:docMk/>
          <pc:sldMk cId="469205521" sldId="260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2:10.717" v="11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03:19.878" v="41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addSp delSp modSp">
        <p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<pc:sldMkLst>
          <pc:docMk/>
          <pc:sldMk cId="3526056995" sldId="261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5:15.165" v="918" actId="20577"/>
          <ac:spMkLst>
            <pc:docMk/>
            <pc:sldMk cId="3526056995" sldId="261"/>
            <ac:spMk id="2" creationId="{DA23552A-D562-47F1-AF5B-5812FC2858D2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6:30.998" v="966" actId="14100"/>
          <ac:spMkLst>
            <pc:docMk/>
            <pc:sldMk cId="3526056995" sldId="261"/>
            <ac:spMk id="3" creationId="{6E85C196-241B-4EAD-AC23-21A7D671341B}"/>
          </ac:spMkLst>
        </pc:spChg>
        <pc:spChg chg="add">
          <ac:chgData name="Lynnerup, Michelle (SGRE SE R NE&amp;ME SP&amp;S RM)" userId="S::michelle.lynnerup@siemensgamesa.com::72c21a01-62b5-4fd6-8407-cdfcc0b436f1" providerId="AD" clId="Web-{BE289469-314E-53EF-D2E0-2B79ECADC97B}" dt="2022-02-14T08:45:54.740" v="907"/>
          <ac:spMkLst>
            <pc:docMk/>
            <pc:sldMk cId="3526056995" sldId="261"/>
            <ac:spMk id="8" creationId="{9519D6DD-F778-4EF2-BA7B-7BDC8117A591}"/>
          </ac:spMkLst>
        </pc:spChg>
        <pc:picChg chg="del">
          <ac:chgData name="Lynnerup, Michelle (SGRE SE R NE&amp;ME SP&amp;S RM)" userId="S::michelle.lynnerup@siemensgamesa.com::72c21a01-62b5-4fd6-8407-cdfcc0b436f1" providerId="AD" clId="Web-{BE289469-314E-53EF-D2E0-2B79ECADC97B}" dt="2022-02-14T08:42:58.385" v="900"/>
          <ac:picMkLst>
            <pc:docMk/>
            <pc:sldMk cId="3526056995" sldId="261"/>
            <ac:picMk id="4" creationId="{231BCFF6-DF90-4A8A-9D8D-B374F39D6B85}"/>
          </ac:picMkLst>
        </pc:picChg>
        <pc:picChg chg="add del mod">
          <ac:chgData name="Lynnerup, Michelle (SGRE SE R NE&amp;ME SP&amp;S RM)" userId="S::michelle.lynnerup@siemensgamesa.com::72c21a01-62b5-4fd6-8407-cdfcc0b436f1" providerId="AD" clId="Web-{BE289469-314E-53EF-D2E0-2B79ECADC97B}" dt="2022-02-14T08:43:32.231" v="903"/>
          <ac:picMkLst>
            <pc:docMk/>
            <pc:sldMk cId="3526056995" sldId="261"/>
            <ac:picMk id="5" creationId="{6696F163-59F1-4165-B194-0755D96F5430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6:41.655" v="967" actId="14100"/>
          <ac:picMkLst>
            <pc:docMk/>
            <pc:sldMk cId="3526056995" sldId="261"/>
            <ac:picMk id="7" creationId="{3C0C5D5B-30B8-4FE0-A3AE-5E776BAA2885}"/>
          </ac:picMkLst>
        </pc:picChg>
        <pc:picChg chg="add mod">
          <ac:chgData name="Lynnerup, Michelle (SGRE SE R NE&amp;ME SP&amp;S RM)" userId="S::michelle.lynnerup@siemensgamesa.com::72c21a01-62b5-4fd6-8407-cdfcc0b436f1" providerId="AD" clId="Web-{BE289469-314E-53EF-D2E0-2B79ECADC97B}" dt="2022-02-14T08:55:06.571" v="916" actId="14100"/>
          <ac:picMkLst>
            <pc:docMk/>
            <pc:sldMk cId="3526056995" sldId="261"/>
            <ac:picMk id="9" creationId="{474941F5-EF9E-49BC-AB71-ECAF97ED8BA8}"/>
          </ac:picMkLst>
        </pc:pic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57:46.690" v="968"/>
        <pc:sldMkLst>
          <pc:docMk/>
          <pc:sldMk cId="3674548677" sldId="263"/>
        </pc:sldMkLst>
      </pc:sldChg>
      <pc:sldChg chg="modSp">
        <p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<pc:sldMkLst>
          <pc:docMk/>
          <pc:sldMk cId="577488301" sldId="318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58:11.036" v="986" actId="20577"/>
          <ac:spMkLst>
            <pc:docMk/>
            <pc:sldMk cId="577488301" sldId="318"/>
            <ac:spMk id="2" creationId="{7A235177-43FE-4983-8553-D9E96F2A891D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9:04:09.402" v="1272" actId="20577"/>
          <ac:spMkLst>
            <pc:docMk/>
            <pc:sldMk cId="577488301" sldId="318"/>
            <ac:spMk id="3" creationId="{FACB4378-C95C-45D7-942D-D6F00751661C}"/>
          </ac:spMkLst>
        </pc:spChg>
      </pc:sldChg>
      <pc:sldChg chg="del">
        <pc:chgData name="Lynnerup, Michelle (SGRE SE R NE&amp;ME SP&amp;S RM)" userId="S::michelle.lynnerup@siemensgamesa.com::72c21a01-62b5-4fd6-8407-cdfcc0b436f1" providerId="AD" clId="Web-{BE289469-314E-53EF-D2E0-2B79ECADC97B}" dt="2022-02-14T08:40:27.782" v="899"/>
        <pc:sldMkLst>
          <pc:docMk/>
          <pc:sldMk cId="451751657" sldId="319"/>
        </pc:sldMkLst>
      </pc:sldChg>
      <pc:sldChg chg="addSp delSp modSp add replId">
        <p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<pc:sldMkLst>
          <pc:docMk/>
          <pc:sldMk cId="1211001049" sldId="345"/>
        </pc:sldMkLst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24:16.409" v="510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ynnerup, Michelle (SGRE SE R NE&amp;ME SP&amp;S RM)" userId="S::michelle.lynnerup@siemensgamesa.com::72c21a01-62b5-4fd6-8407-cdfcc0b436f1" providerId="AD" clId="Web-{BE289469-314E-53EF-D2E0-2B79ECADC97B}" dt="2022-02-14T08:33:38.568" v="877" actId="14100"/>
          <ac:spMkLst>
            <pc:docMk/>
            <pc:sldMk cId="1211001049" sldId="345"/>
            <ac:spMk id="3" creationId="{7E6D3795-4130-41B5-A393-34B028EEB716}"/>
          </ac:spMkLst>
        </pc:spChg>
        <pc:spChg chg="add del">
          <ac:chgData name="Lynnerup, Michelle (SGRE SE R NE&amp;ME SP&amp;S RM)" userId="S::michelle.lynnerup@siemensgamesa.com::72c21a01-62b5-4fd6-8407-cdfcc0b436f1" providerId="AD" clId="Web-{BE289469-314E-53EF-D2E0-2B79ECADC97B}" dt="2022-02-14T08:24:30.222" v="512"/>
          <ac:spMkLst>
            <pc:docMk/>
            <pc:sldMk cId="1211001049" sldId="345"/>
            <ac:spMk id="4" creationId="{F97CEC16-BBD2-4E90-9A88-C0AAEA61DE98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25:55.009" v="539" actId="20577"/>
          <ac:spMkLst>
            <pc:docMk/>
            <pc:sldMk cId="1211001049" sldId="345"/>
            <ac:spMk id="5" creationId="{7792343C-9C62-4AA8-B902-AF5FAB3535C4}"/>
          </ac:spMkLst>
        </pc:spChg>
        <pc:spChg chg="add mod">
          <ac:chgData name="Lynnerup, Michelle (SGRE SE R NE&amp;ME SP&amp;S RM)" userId="S::michelle.lynnerup@siemensgamesa.com::72c21a01-62b5-4fd6-8407-cdfcc0b436f1" providerId="AD" clId="Web-{BE289469-314E-53EF-D2E0-2B79ECADC97B}" dt="2022-02-14T08:35:39.313" v="898" actId="20577"/>
          <ac:spMkLst>
            <pc:docMk/>
            <pc:sldMk cId="1211001049" sldId="345"/>
            <ac:spMk id="6" creationId="{25A36868-9D2A-4955-94AD-09DBFA073DCB}"/>
          </ac:spMkLst>
        </pc:spChg>
      </pc:sldChg>
    </pc:docChg>
  </pc:docChgLst>
  <pc:docChgLst>
    <pc:chgData name="Jakobsen, Lone (SGRE COG N SCL SM BDK)" userId="S::lone.jakobsen@siemensgamesa.com::b97f7784-7dac-40b5-a391-efabebb228d3" providerId="AD" clId="Web-{C037A412-6D10-E722-0AAD-3A04F64F75DC}"/>
    <pc:docChg chg="delSld modSld modSection">
      <pc:chgData name="Jakobsen, Lone (SGRE COG N SCL SM BDK)" userId="S::lone.jakobsen@siemensgamesa.com::b97f7784-7dac-40b5-a391-efabebb228d3" providerId="AD" clId="Web-{C037A412-6D10-E722-0AAD-3A04F64F75DC}" dt="2023-02-03T14:35:50.669" v="4"/>
      <pc:docMkLst>
        <pc:docMk/>
      </pc:docMkLst>
      <pc:sldChg chg="modSp">
        <pc:chgData name="Jakobsen, Lone (SGRE COG N SCL SM BDK)" userId="S::lone.jakobsen@siemensgamesa.com::b97f7784-7dac-40b5-a391-efabebb228d3" providerId="AD" clId="Web-{C037A412-6D10-E722-0AAD-3A04F64F75DC}" dt="2023-02-03T14:35:50.669" v="4"/>
        <pc:sldMkLst>
          <pc:docMk/>
          <pc:sldMk cId="1286349833" sldId="292"/>
        </pc:sldMkLst>
        <pc:graphicFrameChg chg="mod modGraphic">
          <ac:chgData name="Jakobsen, Lone (SGRE COG N SCL SM BDK)" userId="S::lone.jakobsen@siemensgamesa.com::b97f7784-7dac-40b5-a391-efabebb228d3" providerId="AD" clId="Web-{C037A412-6D10-E722-0AAD-3A04F64F75DC}" dt="2023-02-03T14:35:50.669" v="4"/>
          <ac:graphicFrameMkLst>
            <pc:docMk/>
            <pc:sldMk cId="1286349833" sldId="292"/>
            <ac:graphicFrameMk id="3" creationId="{D488FA64-A4FC-4547-943F-86CB8849E592}"/>
          </ac:graphicFrameMkLst>
        </pc:graphicFrameChg>
      </pc:sldChg>
      <pc:sldChg chg="del">
        <pc:chgData name="Jakobsen, Lone (SGRE COG N SCL SM BDK)" userId="S::lone.jakobsen@siemensgamesa.com::b97f7784-7dac-40b5-a391-efabebb228d3" providerId="AD" clId="Web-{C037A412-6D10-E722-0AAD-3A04F64F75DC}" dt="2023-02-03T14:33:57.305" v="0"/>
        <pc:sldMkLst>
          <pc:docMk/>
          <pc:sldMk cId="1231909040" sldId="339"/>
        </pc:sldMkLst>
      </pc:sldChg>
    </pc:docChg>
  </pc:docChgLst>
  <pc:docChgLst>
    <pc:chgData name="Wind-Larsen, Taus (SGRE TE N NT SYC&amp;MAT)" userId="S::taus.wind-larsen@siemensgamesa.com::909f4c56-f0bd-48e2-b5e6-c85fd07560b7" providerId="AD" clId="Web-{81D4019E-BEFF-BC49-3FBC-B3729A26D3C0}"/>
    <pc:docChg chg="addSld modSld modSection">
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81D4019E-BEFF-BC49-3FBC-B3729A26D3C0}" dt="2023-02-21T11:11:56.603" v="32" actId="20577"/>
        <pc:sldMkLst>
          <pc:docMk/>
          <pc:sldMk cId="1840042121" sldId="293"/>
        </pc:sldMkLst>
        <pc:spChg chg="mod">
          <ac:chgData name="Wind-Larsen, Taus (SGRE TE N NT SYC&amp;MAT)" userId="S::taus.wind-larsen@siemensgamesa.com::909f4c56-f0bd-48e2-b5e6-c85fd07560b7" providerId="AD" clId="Web-{81D4019E-BEFF-BC49-3FBC-B3729A26D3C0}" dt="2023-02-21T11:11:53.884" v="30" actId="20577"/>
          <ac:spMkLst>
            <pc:docMk/>
            <pc:sldMk cId="1840042121" sldId="293"/>
            <ac:spMk id="2" creationId="{5D788ADA-8C37-43AB-89C9-1218A42316CA}"/>
          </ac:spMkLst>
        </pc:spChg>
        <pc:spChg chg="mod">
          <ac:chgData name="Wind-Larsen, Taus (SGRE TE N NT SYC&amp;MAT)" userId="S::taus.wind-larsen@siemensgamesa.com::909f4c56-f0bd-48e2-b5e6-c85fd07560b7" providerId="AD" clId="Web-{81D4019E-BEFF-BC49-3FBC-B3729A26D3C0}" dt="2023-02-21T11:11:56.603" v="32" actId="20577"/>
          <ac:spMkLst>
            <pc:docMk/>
            <pc:sldMk cId="1840042121" sldId="293"/>
            <ac:spMk id="4" creationId="{7B1880A8-F560-4971-93F0-7C14A34CF76C}"/>
          </ac:spMkLst>
        </pc:spChg>
        <pc:spChg chg="mod">
          <ac:chgData name="Wind-Larsen, Taus (SGRE TE N NT SYC&amp;MAT)" userId="S::taus.wind-larsen@siemensgamesa.com::909f4c56-f0bd-48e2-b5e6-c85fd07560b7" providerId="AD" clId="Web-{81D4019E-BEFF-BC49-3FBC-B3729A26D3C0}" dt="2023-02-21T11:11:40.493" v="28" actId="20577"/>
          <ac:spMkLst>
            <pc:docMk/>
            <pc:sldMk cId="1840042121" sldId="293"/>
            <ac:spMk id="10" creationId="{BD5C9BD0-DEBA-441F-9811-E50C4D0B74CF}"/>
          </ac:spMkLst>
        </pc:spChg>
      </pc:sldChg>
      <pc:sldChg chg="modSp">
        <pc:chgData name="Wind-Larsen, Taus (SGRE TE N NT SYC&amp;MAT)" userId="S::taus.wind-larsen@siemensgamesa.com::909f4c56-f0bd-48e2-b5e6-c85fd07560b7" providerId="AD" clId="Web-{81D4019E-BEFF-BC49-3FBC-B3729A26D3C0}" dt="2023-02-21T11:29:40.045" v="101" actId="20577"/>
        <pc:sldMkLst>
          <pc:docMk/>
          <pc:sldMk cId="284083800" sldId="310"/>
        </pc:sldMkLst>
        <pc:spChg chg="mod">
          <ac:chgData name="Wind-Larsen, Taus (SGRE TE N NT SYC&amp;MAT)" userId="S::taus.wind-larsen@siemensgamesa.com::909f4c56-f0bd-48e2-b5e6-c85fd07560b7" providerId="AD" clId="Web-{81D4019E-BEFF-BC49-3FBC-B3729A26D3C0}" dt="2023-02-21T11:29:40.045" v="101" actId="20577"/>
          <ac:spMkLst>
            <pc:docMk/>
            <pc:sldMk cId="284083800" sldId="310"/>
            <ac:spMk id="11" creationId="{89B4B4D0-29E4-4778-863D-84D1F1E7D884}"/>
          </ac:spMkLst>
        </pc:spChg>
      </pc:sldChg>
      <pc:sldChg chg="addSp delSp modSp new">
        <pc:chgData name="Wind-Larsen, Taus (SGRE TE N NT SYC&amp;MAT)" userId="S::taus.wind-larsen@siemensgamesa.com::909f4c56-f0bd-48e2-b5e6-c85fd07560b7" providerId="AD" clId="Web-{81D4019E-BEFF-BC49-3FBC-B3729A26D3C0}" dt="2023-02-21T11:15:15.328" v="39"/>
        <pc:sldMkLst>
          <pc:docMk/>
          <pc:sldMk cId="2076336558" sldId="350"/>
        </pc:sldMkLst>
        <pc:spChg chg="del">
          <ac:chgData name="Wind-Larsen, Taus (SGRE TE N NT SYC&amp;MAT)" userId="S::taus.wind-larsen@siemensgamesa.com::909f4c56-f0bd-48e2-b5e6-c85fd07560b7" providerId="AD" clId="Web-{81D4019E-BEFF-BC49-3FBC-B3729A26D3C0}" dt="2023-02-21T11:15:15.328" v="39"/>
          <ac:spMkLst>
            <pc:docMk/>
            <pc:sldMk cId="2076336558" sldId="350"/>
            <ac:spMk id="2" creationId="{05A08AB5-3DD6-33EF-B8A7-0CC3F928416B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4:54.171" v="34"/>
          <ac:spMkLst>
            <pc:docMk/>
            <pc:sldMk cId="2076336558" sldId="350"/>
            <ac:spMk id="3" creationId="{F6993BC1-61E0-BCAD-53DD-8413FF0DD2DA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5:10.016" v="38"/>
          <ac:spMkLst>
            <pc:docMk/>
            <pc:sldMk cId="2076336558" sldId="350"/>
            <ac:spMk id="4" creationId="{C3EF1F14-C04C-3568-E3AC-506B021025D6}"/>
          </ac:spMkLst>
        </pc:spChg>
        <pc:spChg chg="del">
          <ac:chgData name="Wind-Larsen, Taus (SGRE TE N NT SYC&amp;MAT)" userId="S::taus.wind-larsen@siemensgamesa.com::909f4c56-f0bd-48e2-b5e6-c85fd07560b7" providerId="AD" clId="Web-{81D4019E-BEFF-BC49-3FBC-B3729A26D3C0}" dt="2023-02-21T11:15:01.797" v="36"/>
          <ac:spMkLst>
            <pc:docMk/>
            <pc:sldMk cId="2076336558" sldId="350"/>
            <ac:spMk id="5" creationId="{206595A5-54AD-143F-2742-DA72CD2CB0FE}"/>
          </ac:spMkLst>
        </pc:spChg>
        <pc:picChg chg="add mod ord">
          <ac:chgData name="Wind-Larsen, Taus (SGRE TE N NT SYC&amp;MAT)" userId="S::taus.wind-larsen@siemensgamesa.com::909f4c56-f0bd-48e2-b5e6-c85fd07560b7" providerId="AD" clId="Web-{81D4019E-BEFF-BC49-3FBC-B3729A26D3C0}" dt="2023-02-21T11:15:07.469" v="37" actId="1076"/>
          <ac:picMkLst>
            <pc:docMk/>
            <pc:sldMk cId="2076336558" sldId="350"/>
            <ac:picMk id="7" creationId="{896289CA-D9B1-3992-5CC0-DDC44C27EE10}"/>
          </ac:picMkLst>
        </pc:picChg>
      </pc:sldChg>
    </pc:docChg>
  </pc:docChgLst>
  <pc:docChgLst>
    <pc:chgData name="Lynnerup, Michelle (SGRE SE SP&amp;S LOG ROM NE&amp;ME)" userId="S::michelle.lynnerup@siemensgamesa.com::72c21a01-62b5-4fd6-8407-cdfcc0b436f1" providerId="AD" clId="Web-{E244726A-BB11-3395-5D91-ACC1BCE3881A}"/>
    <pc:docChg chg="modSld">
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<pc:docMkLst>
        <pc:docMk/>
      </pc:docMkLst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3:22:05.395" v="1" actId="20577"/>
        <pc:sldMkLst>
          <pc:docMk/>
          <pc:sldMk cId="2028741205" sldId="256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3:22:05.395" v="1" actId="20577"/>
          <ac:spMkLst>
            <pc:docMk/>
            <pc:sldMk cId="2028741205" sldId="256"/>
            <ac:spMk id="4" creationId="{E87FD221-A9E2-4D0B-BD27-3C78FCF35676}"/>
          </ac:spMkLst>
        </pc:sp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3:00.114" v="861" actId="20577"/>
        <pc:sldMkLst>
          <pc:docMk/>
          <pc:sldMk cId="1109116256" sldId="257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3:00.114" v="861" actId="20577"/>
          <ac:spMkLst>
            <pc:docMk/>
            <pc:sldMk cId="1109116256" sldId="257"/>
            <ac:spMk id="4" creationId="{A70F15DE-AA3E-4D6B-9342-CB30FBAE817E}"/>
          </ac:spMkLst>
        </pc:sp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6:22:57.323" v="886" actId="20577"/>
        <pc:sldMkLst>
          <pc:docMk/>
          <pc:sldMk cId="469205521" sldId="260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3:43:32.815" v="58" actId="20577"/>
          <ac:spMkLst>
            <pc:docMk/>
            <pc:sldMk cId="469205521" sldId="260"/>
            <ac:spMk id="2" creationId="{A0BAC49B-5E20-4AB4-8229-4C22BC73E556}"/>
          </ac:spMkLst>
        </pc:spChg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6:22:57.323" v="886" actId="20577"/>
          <ac:spMkLst>
            <pc:docMk/>
            <pc:sldMk cId="469205521" sldId="260"/>
            <ac:spMk id="3" creationId="{7E6D3795-4130-41B5-A393-34B028EEB716}"/>
          </ac:spMkLst>
        </pc:spChg>
      </pc:sldChg>
      <pc:sldChg chg="addSp delSp modSp">
        <p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  <pc:sldMkLst>
          <pc:docMk/>
          <pc:sldMk cId="3526056995" sldId="261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6:56:57.076" v="889" actId="14100"/>
          <ac:spMkLst>
            <pc:docMk/>
            <pc:sldMk cId="3526056995" sldId="261"/>
            <ac:spMk id="3" creationId="{6E85C196-241B-4EAD-AC23-21A7D671341B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6:58:22.703" v="912" actId="14100"/>
          <ac:spMkLst>
            <pc:docMk/>
            <pc:sldMk cId="3526056995" sldId="261"/>
            <ac:spMk id="5" creationId="{35258F93-90BD-7A53-F30D-9D970C551846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6:59:33.518" v="954" actId="20577"/>
          <ac:spMkLst>
            <pc:docMk/>
            <pc:sldMk cId="3526056995" sldId="261"/>
            <ac:spMk id="7" creationId="{1AD89707-4C20-3063-8BEC-10F8F0237226}"/>
          </ac:spMkLst>
        </pc:spChg>
        <pc:spChg chg="add mod">
          <ac:chgData name="Lynnerup, Michelle (SGRE SE SP&amp;S LOG ROM NE&amp;ME)" userId="S::michelle.lynnerup@siemensgamesa.com::72c21a01-62b5-4fd6-8407-cdfcc0b436f1" providerId="AD" clId="Web-{E244726A-BB11-3395-5D91-ACC1BCE3881A}" dt="2023-02-03T17:11:18.021" v="1005" actId="20577"/>
          <ac:spMkLst>
            <pc:docMk/>
            <pc:sldMk cId="3526056995" sldId="261"/>
            <ac:spMk id="9" creationId="{B146F6AB-0F29-187F-66DF-62FA4C326F02}"/>
          </ac:spMkLst>
        </pc:spChg>
        <pc:picChg chg="add mod">
          <ac:chgData name="Lynnerup, Michelle (SGRE SE SP&amp;S LOG ROM NE&amp;ME)" userId="S::michelle.lynnerup@siemensgamesa.com::72c21a01-62b5-4fd6-8407-cdfcc0b436f1" providerId="AD" clId="Web-{E244726A-BB11-3395-5D91-ACC1BCE3881A}" dt="2023-02-03T16:56:36.310" v="887" actId="1076"/>
          <ac:picMkLst>
            <pc:docMk/>
            <pc:sldMk cId="3526056995" sldId="261"/>
            <ac:picMk id="4" creationId="{1BAB011A-9B79-C8B5-B019-62DB628348D1}"/>
          </ac:picMkLst>
        </pc:picChg>
        <pc:picChg chg="del">
          <ac:chgData name="Lynnerup, Michelle (SGRE SE SP&amp;S LOG ROM NE&amp;ME)" userId="S::michelle.lynnerup@siemensgamesa.com::72c21a01-62b5-4fd6-8407-cdfcc0b436f1" providerId="AD" clId="Web-{E244726A-BB11-3395-5D91-ACC1BCE3881A}" dt="2023-02-03T15:09:02.064" v="876"/>
          <ac:picMkLst>
            <pc:docMk/>
            <pc:sldMk cId="3526056995" sldId="261"/>
            <ac:picMk id="7" creationId="{3C0C5D5B-30B8-4FE0-A3AE-5E776BAA2885}"/>
          </ac:picMkLst>
        </pc:picChg>
        <pc:picChg chg="del">
          <ac:chgData name="Lynnerup, Michelle (SGRE SE SP&amp;S LOG ROM NE&amp;ME)" userId="S::michelle.lynnerup@siemensgamesa.com::72c21a01-62b5-4fd6-8407-cdfcc0b436f1" providerId="AD" clId="Web-{E244726A-BB11-3395-5D91-ACC1BCE3881A}" dt="2023-02-03T15:08:57.455" v="875"/>
          <ac:picMkLst>
            <pc:docMk/>
            <pc:sldMk cId="3526056995" sldId="261"/>
            <ac:picMk id="9" creationId="{474941F5-EF9E-49BC-AB71-ECAF97ED8BA8}"/>
          </ac:picMkLst>
        </pc:picChg>
      </pc:sldChg>
      <pc:sldChg chg="modSp">
        <pc:chgData name="Lynnerup, Michelle (SGRE SE SP&amp;S LOG ROM NE&amp;ME)" userId="S::michelle.lynnerup@siemensgamesa.com::72c21a01-62b5-4fd6-8407-cdfcc0b436f1" providerId="AD" clId="Web-{E244726A-BB11-3395-5D91-ACC1BCE3881A}" dt="2023-02-03T15:01:22.923" v="850" actId="20577"/>
        <pc:sldMkLst>
          <pc:docMk/>
          <pc:sldMk cId="1211001049" sldId="345"/>
        </pc:sldMkLst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0:01.373" v="839" actId="20577"/>
          <ac:spMkLst>
            <pc:docMk/>
            <pc:sldMk cId="1211001049" sldId="345"/>
            <ac:spMk id="2" creationId="{A0BAC49B-5E20-4AB4-8229-4C22BC73E556}"/>
          </ac:spMkLst>
        </pc:spChg>
        <pc:spChg chg="mod">
          <ac:chgData name="Lynnerup, Michelle (SGRE SE SP&amp;S LOG ROM NE&amp;ME)" userId="S::michelle.lynnerup@siemensgamesa.com::72c21a01-62b5-4fd6-8407-cdfcc0b436f1" providerId="AD" clId="Web-{E244726A-BB11-3395-5D91-ACC1BCE3881A}" dt="2023-02-03T15:01:22.923" v="850" actId="20577"/>
          <ac:spMkLst>
            <pc:docMk/>
            <pc:sldMk cId="1211001049" sldId="345"/>
            <ac:spMk id="3" creationId="{7E6D3795-4130-41B5-A393-34B028EEB716}"/>
          </ac:spMkLst>
        </pc:spChg>
      </pc:sldChg>
    </pc:docChg>
  </pc:docChgLst>
  <pc:docChgLst>
    <pc:chgData name="Wind-Larsen, Taus (SGRE TE N NT SYC&amp;MAT)" userId="S::taus.wind-larsen@siemensgamesa.com::909f4c56-f0bd-48e2-b5e6-c85fd07560b7" providerId="AD" clId="Web-{52C92074-C7C9-7226-A6EC-56920EA4BDB6}"/>
    <pc:docChg chg="modSld">
      <pc:chgData name="Wind-Larsen, Taus (SGRE TE N NT SYC&amp;MAT)" userId="S::taus.wind-larsen@siemensgamesa.com::909f4c56-f0bd-48e2-b5e6-c85fd07560b7" providerId="AD" clId="Web-{52C92074-C7C9-7226-A6EC-56920EA4BDB6}" dt="2023-02-23T13:53:59.458" v="50" actId="20577"/>
      <pc:docMkLst>
        <pc:docMk/>
      </pc:docMkLst>
      <pc:sldChg chg="modSp">
        <pc:chgData name="Wind-Larsen, Taus (SGRE TE N NT SYC&amp;MAT)" userId="S::taus.wind-larsen@siemensgamesa.com::909f4c56-f0bd-48e2-b5e6-c85fd07560b7" providerId="AD" clId="Web-{52C92074-C7C9-7226-A6EC-56920EA4BDB6}" dt="2023-02-23T13:53:59.458" v="50" actId="20577"/>
        <pc:sldMkLst>
          <pc:docMk/>
          <pc:sldMk cId="3672746191" sldId="313"/>
        </pc:sldMkLst>
        <pc:spChg chg="mod">
          <ac:chgData name="Wind-Larsen, Taus (SGRE TE N NT SYC&amp;MAT)" userId="S::taus.wind-larsen@siemensgamesa.com::909f4c56-f0bd-48e2-b5e6-c85fd07560b7" providerId="AD" clId="Web-{52C92074-C7C9-7226-A6EC-56920EA4BDB6}" dt="2023-02-23T13:53:59.458" v="50" actId="20577"/>
          <ac:spMkLst>
            <pc:docMk/>
            <pc:sldMk cId="3672746191" sldId="313"/>
            <ac:spMk id="11" creationId="{A6A93498-D709-4606-93BB-0C3A4FCE74B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794057794057795E-2"/>
          <c:y val="3.5206499661475966E-2"/>
          <c:w val="0.93162393162393164"/>
          <c:h val="0.9295870006770480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F3-4885-AB66-69BFEA8B83B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F3-4885-AB66-69BFEA8B83BD}"/>
                </c:ext>
              </c:extLst>
            </c:dLbl>
            <c:dLbl>
              <c:idx val="2"/>
              <c:layout>
                <c:manualLayout>
                  <c:x val="7.20390720390720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596</c:v>
                </c:pt>
                <c:pt idx="1">
                  <c:v>1779</c:v>
                </c:pt>
                <c:pt idx="2">
                  <c:v>-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F3-4885-AB66-69BFEA8B83B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F3-4885-AB66-69BFEA8B83B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F3-4885-AB66-69BFEA8B83BD}"/>
                </c:ext>
              </c:extLst>
            </c:dLbl>
            <c:dLbl>
              <c:idx val="2"/>
              <c:layout>
                <c:manualLayout>
                  <c:x val="7.997557997557996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F3-4885-AB66-69BFEA8B8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461.5650000000001</c:v>
                </c:pt>
                <c:pt idx="1">
                  <c:v>1678.9739999999999</c:v>
                </c:pt>
                <c:pt idx="2">
                  <c:v>-217.40899999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2F3-4885-AB66-69BFEA8B8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896215"/>
        <c:axId val="1"/>
      </c:barChart>
      <c:catAx>
        <c:axId val="138962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779"/>
          <c:min val="-217.40899999999988"/>
        </c:scaling>
        <c:delete val="1"/>
        <c:axPos val="t"/>
        <c:numFmt formatCode="General" sourceLinked="1"/>
        <c:majorTickMark val="out"/>
        <c:minorTickMark val="none"/>
        <c:tickLblPos val="nextTo"/>
        <c:crossAx val="13896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00899133562204E-3"/>
          <c:y val="0.18828932261768083"/>
          <c:w val="0.98299820173287555"/>
          <c:h val="0.752009184845005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6808266360505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D5-4033-9869-8A015BC56E6A}"/>
                </c:ext>
              </c:extLst>
            </c:dLbl>
            <c:dLbl>
              <c:idx val="1"/>
              <c:layout>
                <c:manualLayout>
                  <c:x val="0"/>
                  <c:y val="-0.28932261768082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D5-4033-9869-8A015BC56E6A}"/>
                </c:ext>
              </c:extLst>
            </c:dLbl>
            <c:dLbl>
              <c:idx val="2"/>
              <c:layout>
                <c:manualLayout>
                  <c:x val="0"/>
                  <c:y val="-0.37887485648679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D5-4033-9869-8A015BC56E6A}"/>
                </c:ext>
              </c:extLst>
            </c:dLbl>
            <c:dLbl>
              <c:idx val="3"/>
              <c:layout>
                <c:manualLayout>
                  <c:x val="0"/>
                  <c:y val="-0.471871412169919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D5-4033-9869-8A015BC56E6A}"/>
                </c:ext>
              </c:extLst>
            </c:dLbl>
            <c:dLbl>
              <c:idx val="4"/>
              <c:layout>
                <c:manualLayout>
                  <c:x val="0"/>
                  <c:y val="-0.365097588978186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D5-4033-9869-8A015BC56E6A}"/>
                </c:ext>
              </c:extLst>
            </c:dLbl>
            <c:dLbl>
              <c:idx val="5"/>
              <c:layout>
                <c:manualLayout>
                  <c:x val="0"/>
                  <c:y val="-0.43398392652123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BD5-4033-9869-8A015BC56E6A}"/>
                </c:ext>
              </c:extLst>
            </c:dLbl>
            <c:dLbl>
              <c:idx val="6"/>
              <c:layout>
                <c:manualLayout>
                  <c:x val="0"/>
                  <c:y val="-0.346727898966704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BD5-4033-9869-8A015BC56E6A}"/>
                </c:ext>
              </c:extLst>
            </c:dLbl>
            <c:dLbl>
              <c:idx val="7"/>
              <c:layout>
                <c:manualLayout>
                  <c:x val="0"/>
                  <c:y val="-0.295063145809414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BD5-4033-9869-8A015BC56E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47.37099999999998</c:v>
                </c:pt>
                <c:pt idx="1">
                  <c:v>832.34400000000005</c:v>
                </c:pt>
                <c:pt idx="2">
                  <c:v>1211.8599999999999</c:v>
                </c:pt>
                <c:pt idx="3">
                  <c:v>1605.999</c:v>
                </c:pt>
                <c:pt idx="4">
                  <c:v>1152.5530000000001</c:v>
                </c:pt>
                <c:pt idx="5">
                  <c:v>1443.4159999999999</c:v>
                </c:pt>
                <c:pt idx="6">
                  <c:v>1073.4349999999999</c:v>
                </c:pt>
                <c:pt idx="7">
                  <c:v>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BD5-4033-9869-8A015BC56E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0757944"/>
        <c:axId val="1"/>
      </c:barChart>
      <c:catAx>
        <c:axId val="990757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5.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90757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87992315081652E-2"/>
          <c:y val="0.16285998013902681"/>
          <c:w val="0.97502401536983674"/>
          <c:h val="0.7855014895729890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7934458788480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29-46D9-9F4D-9DAB3142AC58}"/>
                </c:ext>
              </c:extLst>
            </c:dLbl>
            <c:dLbl>
              <c:idx val="1"/>
              <c:layout>
                <c:manualLayout>
                  <c:x val="0"/>
                  <c:y val="-0.333664349553128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29-46D9-9F4D-9DAB3142AC58}"/>
                </c:ext>
              </c:extLst>
            </c:dLbl>
            <c:dLbl>
              <c:idx val="2"/>
              <c:layout>
                <c:manualLayout>
                  <c:x val="0"/>
                  <c:y val="-0.475670307845084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29-46D9-9F4D-9DAB3142AC58}"/>
                </c:ext>
              </c:extLst>
            </c:dLbl>
            <c:dLbl>
              <c:idx val="3"/>
              <c:layout>
                <c:manualLayout>
                  <c:x val="0"/>
                  <c:y val="-0.16981132075471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29-46D9-9F4D-9DAB3142AC58}"/>
                </c:ext>
              </c:extLst>
            </c:dLbl>
            <c:dLbl>
              <c:idx val="4"/>
              <c:layout>
                <c:manualLayout>
                  <c:x val="0"/>
                  <c:y val="-0.225422045680238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29-46D9-9F4D-9DAB3142AC58}"/>
                </c:ext>
              </c:extLst>
            </c:dLbl>
            <c:dLbl>
              <c:idx val="5"/>
              <c:layout>
                <c:manualLayout>
                  <c:x val="0"/>
                  <c:y val="-0.333664349553128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29-46D9-9F4D-9DAB3142AC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951.1310000000001</c:v>
                </c:pt>
                <c:pt idx="1">
                  <c:v>1379.1120000000001</c:v>
                </c:pt>
                <c:pt idx="2">
                  <c:v>2156.6509999999998</c:v>
                </c:pt>
                <c:pt idx="3">
                  <c:v>526.3900000000001</c:v>
                </c:pt>
                <c:pt idx="4">
                  <c:v>782.15599999999995</c:v>
                </c:pt>
                <c:pt idx="5">
                  <c:v>1383.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C29-46D9-9F4D-9DAB3142AC58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8.1652257444764648E-3"/>
                  <c:y val="-0.275074478649453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29-46D9-9F4D-9DAB3142AC58}"/>
                </c:ext>
              </c:extLst>
            </c:dLbl>
            <c:dLbl>
              <c:idx val="1"/>
              <c:layout>
                <c:manualLayout>
                  <c:x val="0"/>
                  <c:y val="-1.68818272095332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29-46D9-9F4D-9DAB3142AC58}"/>
                </c:ext>
              </c:extLst>
            </c:dLbl>
            <c:dLbl>
              <c:idx val="2"/>
              <c:layout>
                <c:manualLayout>
                  <c:x val="0"/>
                  <c:y val="-6.95134061569016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C29-46D9-9F4D-9DAB3142AC58}"/>
                </c:ext>
              </c:extLst>
            </c:dLbl>
            <c:dLbl>
              <c:idx val="3"/>
              <c:layout>
                <c:manualLayout>
                  <c:x val="0"/>
                  <c:y val="-9.93048659384309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29-46D9-9F4D-9DAB3142AC58}"/>
                </c:ext>
              </c:extLst>
            </c:dLbl>
            <c:dLbl>
              <c:idx val="4"/>
              <c:layout>
                <c:manualLayout>
                  <c:x val="0"/>
                  <c:y val="-0.102284011916583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29-46D9-9F4D-9DAB3142AC58}"/>
                </c:ext>
              </c:extLst>
            </c:dLbl>
            <c:dLbl>
              <c:idx val="5"/>
              <c:layout>
                <c:manualLayout>
                  <c:x val="0"/>
                  <c:y val="-8.54021847070506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29-46D9-9F4D-9DAB3142AC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054.3979999999999</c:v>
                </c:pt>
                <c:pt idx="1">
                  <c:v>107.42700000000001</c:v>
                </c:pt>
                <c:pt idx="2">
                  <c:v>79.17</c:v>
                </c:pt>
                <c:pt idx="3">
                  <c:v>87.882999999999996</c:v>
                </c:pt>
                <c:pt idx="4">
                  <c:v>340.12099999999998</c:v>
                </c:pt>
                <c:pt idx="5">
                  <c:v>295.3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C29-46D9-9F4D-9DAB3142AC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07708616"/>
        <c:axId val="1"/>
      </c:barChart>
      <c:catAx>
        <c:axId val="607708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56.650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7708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59368664929048E-2"/>
          <c:y val="3.6931818181818184E-2"/>
          <c:w val="0.96988126267014185"/>
          <c:h val="0.9261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-0.305397727272727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E6D-448D-A1CC-B78109914E59}"/>
                </c:ext>
              </c:extLst>
            </c:dLbl>
            <c:dLbl>
              <c:idx val="5"/>
              <c:layout>
                <c:manualLayout>
                  <c:x val="0"/>
                  <c:y val="-0.225142045454545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E6D-448D-A1CC-B78109914E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606</c:v>
                </c:pt>
                <c:pt idx="1">
                  <c:v>1153</c:v>
                </c:pt>
                <c:pt idx="2">
                  <c:v>1443</c:v>
                </c:pt>
                <c:pt idx="3">
                  <c:v>1073</c:v>
                </c:pt>
                <c:pt idx="4">
                  <c:v>856</c:v>
                </c:pt>
                <c:pt idx="5">
                  <c:v>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300951"/>
        <c:axId val="1"/>
      </c:barChart>
      <c:lineChart>
        <c:grouping val="standard"/>
        <c:varyColors val="0"/>
        <c:ser>
          <c:idx val="1"/>
          <c:order val="1"/>
          <c:spPr>
            <a:ln w="38100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  <c:pt idx="5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E6D-448D-A1CC-B78109914E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300951"/>
        <c:axId val="1"/>
      </c:lineChart>
      <c:catAx>
        <c:axId val="60300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300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141916-E09E-43CC-ACF6-D308982F8A7E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1A47E358-55BF-4F77-A901-CA82B3454268}">
      <dgm:prSet phldrT="[Text]"/>
      <dgm:spPr/>
      <dgm:t>
        <a:bodyPr/>
        <a:lstStyle/>
        <a:p>
          <a:r>
            <a:rPr lang="en-US"/>
            <a:t>Umbraco and Co3 / DIBS change</a:t>
          </a:r>
        </a:p>
      </dgm:t>
    </dgm:pt>
    <dgm:pt modelId="{A31FE9B6-8D63-4816-AA1D-0E6CF7D5B6A9}" type="parTrans" cxnId="{78C176EA-AFCC-47F2-8F4B-D37F1B1429FC}">
      <dgm:prSet/>
      <dgm:spPr/>
      <dgm:t>
        <a:bodyPr/>
        <a:lstStyle/>
        <a:p>
          <a:endParaRPr lang="en-US"/>
        </a:p>
      </dgm:t>
    </dgm:pt>
    <dgm:pt modelId="{DF8E6847-3C55-4BA3-A612-F20BE1477A32}" type="sibTrans" cxnId="{78C176EA-AFCC-47F2-8F4B-D37F1B1429FC}">
      <dgm:prSet/>
      <dgm:spPr/>
      <dgm:t>
        <a:bodyPr/>
        <a:lstStyle/>
        <a:p>
          <a:endParaRPr lang="en-US"/>
        </a:p>
      </dgm:t>
    </dgm:pt>
    <dgm:pt modelId="{282FB721-187A-4C5C-A3EC-828289CDC6E9}">
      <dgm:prSet phldrT="[Text]"/>
      <dgm:spPr/>
      <dgm:t>
        <a:bodyPr/>
        <a:lstStyle/>
        <a:p>
          <a:r>
            <a:rPr lang="en-US"/>
            <a:t>Concept / requirement list</a:t>
          </a:r>
        </a:p>
      </dgm:t>
    </dgm:pt>
    <dgm:pt modelId="{E718D4AA-B367-44D0-B86B-97D5429F8F46}" type="parTrans" cxnId="{F401F323-78DD-4C17-90D1-364BC23A979B}">
      <dgm:prSet/>
      <dgm:spPr/>
      <dgm:t>
        <a:bodyPr/>
        <a:lstStyle/>
        <a:p>
          <a:endParaRPr lang="en-US"/>
        </a:p>
      </dgm:t>
    </dgm:pt>
    <dgm:pt modelId="{95039902-6862-41A1-BDEC-0280C32C303B}" type="sibTrans" cxnId="{F401F323-78DD-4C17-90D1-364BC23A979B}">
      <dgm:prSet/>
      <dgm:spPr/>
      <dgm:t>
        <a:bodyPr/>
        <a:lstStyle/>
        <a:p>
          <a:endParaRPr lang="en-US"/>
        </a:p>
      </dgm:t>
    </dgm:pt>
    <dgm:pt modelId="{65F2D6D3-D56C-490C-BB75-329E966E0E23}">
      <dgm:prSet phldrT="[Text]"/>
      <dgm:spPr/>
      <dgm:t>
        <a:bodyPr/>
        <a:lstStyle/>
        <a:p>
          <a:r>
            <a:rPr lang="en-US"/>
            <a:t>Supplier identification and awarding</a:t>
          </a:r>
        </a:p>
      </dgm:t>
    </dgm:pt>
    <dgm:pt modelId="{B664F580-3530-419D-A082-C9398654066D}" type="parTrans" cxnId="{67EC8F35-547B-4E3A-9593-A026EF931A14}">
      <dgm:prSet/>
      <dgm:spPr/>
      <dgm:t>
        <a:bodyPr/>
        <a:lstStyle/>
        <a:p>
          <a:endParaRPr lang="en-US"/>
        </a:p>
      </dgm:t>
    </dgm:pt>
    <dgm:pt modelId="{734C9BD9-3616-4F53-A215-8DB8C8C00650}" type="sibTrans" cxnId="{67EC8F35-547B-4E3A-9593-A026EF931A14}">
      <dgm:prSet/>
      <dgm:spPr/>
      <dgm:t>
        <a:bodyPr/>
        <a:lstStyle/>
        <a:p>
          <a:endParaRPr lang="en-US"/>
        </a:p>
      </dgm:t>
    </dgm:pt>
    <dgm:pt modelId="{A1946830-9EF6-4237-B8BE-DC12B751EF1C}" type="pres">
      <dgm:prSet presAssocID="{6E141916-E09E-43CC-ACF6-D308982F8A7E}" presName="linearFlow" presStyleCnt="0">
        <dgm:presLayoutVars>
          <dgm:resizeHandles val="exact"/>
        </dgm:presLayoutVars>
      </dgm:prSet>
      <dgm:spPr/>
    </dgm:pt>
    <dgm:pt modelId="{276A6999-D3BC-4799-8344-D4022095E113}" type="pres">
      <dgm:prSet presAssocID="{1A47E358-55BF-4F77-A901-CA82B3454268}" presName="node" presStyleLbl="node1" presStyleIdx="0" presStyleCnt="3">
        <dgm:presLayoutVars>
          <dgm:bulletEnabled val="1"/>
        </dgm:presLayoutVars>
      </dgm:prSet>
      <dgm:spPr/>
    </dgm:pt>
    <dgm:pt modelId="{FC4A369B-8FFD-4312-B47D-D74CC986D061}" type="pres">
      <dgm:prSet presAssocID="{DF8E6847-3C55-4BA3-A612-F20BE1477A32}" presName="sibTrans" presStyleLbl="sibTrans2D1" presStyleIdx="0" presStyleCnt="2"/>
      <dgm:spPr/>
    </dgm:pt>
    <dgm:pt modelId="{3A274CAF-F970-442E-A808-7C25C809835B}" type="pres">
      <dgm:prSet presAssocID="{DF8E6847-3C55-4BA3-A612-F20BE1477A32}" presName="connectorText" presStyleLbl="sibTrans2D1" presStyleIdx="0" presStyleCnt="2"/>
      <dgm:spPr/>
    </dgm:pt>
    <dgm:pt modelId="{EC7F69BB-C825-4EB6-83F1-393809C6D382}" type="pres">
      <dgm:prSet presAssocID="{282FB721-187A-4C5C-A3EC-828289CDC6E9}" presName="node" presStyleLbl="node1" presStyleIdx="1" presStyleCnt="3">
        <dgm:presLayoutVars>
          <dgm:bulletEnabled val="1"/>
        </dgm:presLayoutVars>
      </dgm:prSet>
      <dgm:spPr/>
    </dgm:pt>
    <dgm:pt modelId="{CD7EB3BB-7FFF-47AB-A700-68F2D3E0696F}" type="pres">
      <dgm:prSet presAssocID="{95039902-6862-41A1-BDEC-0280C32C303B}" presName="sibTrans" presStyleLbl="sibTrans2D1" presStyleIdx="1" presStyleCnt="2"/>
      <dgm:spPr/>
    </dgm:pt>
    <dgm:pt modelId="{D3AD4FDF-365F-4BE8-A89C-0BD79C30FD28}" type="pres">
      <dgm:prSet presAssocID="{95039902-6862-41A1-BDEC-0280C32C303B}" presName="connectorText" presStyleLbl="sibTrans2D1" presStyleIdx="1" presStyleCnt="2"/>
      <dgm:spPr/>
    </dgm:pt>
    <dgm:pt modelId="{273B57EF-8508-4B5F-B295-605E6A31FB98}" type="pres">
      <dgm:prSet presAssocID="{65F2D6D3-D56C-490C-BB75-329E966E0E23}" presName="node" presStyleLbl="node1" presStyleIdx="2" presStyleCnt="3">
        <dgm:presLayoutVars>
          <dgm:bulletEnabled val="1"/>
        </dgm:presLayoutVars>
      </dgm:prSet>
      <dgm:spPr/>
    </dgm:pt>
  </dgm:ptLst>
  <dgm:cxnLst>
    <dgm:cxn modelId="{2C64F000-2BB0-490A-A9CC-1DCA4BC14666}" type="presOf" srcId="{95039902-6862-41A1-BDEC-0280C32C303B}" destId="{D3AD4FDF-365F-4BE8-A89C-0BD79C30FD28}" srcOrd="1" destOrd="0" presId="urn:microsoft.com/office/officeart/2005/8/layout/process2"/>
    <dgm:cxn modelId="{6C989A23-B2E7-4F5E-893F-DCF6EF1649B7}" type="presOf" srcId="{DF8E6847-3C55-4BA3-A612-F20BE1477A32}" destId="{FC4A369B-8FFD-4312-B47D-D74CC986D061}" srcOrd="0" destOrd="0" presId="urn:microsoft.com/office/officeart/2005/8/layout/process2"/>
    <dgm:cxn modelId="{F401F323-78DD-4C17-90D1-364BC23A979B}" srcId="{6E141916-E09E-43CC-ACF6-D308982F8A7E}" destId="{282FB721-187A-4C5C-A3EC-828289CDC6E9}" srcOrd="1" destOrd="0" parTransId="{E718D4AA-B367-44D0-B86B-97D5429F8F46}" sibTransId="{95039902-6862-41A1-BDEC-0280C32C303B}"/>
    <dgm:cxn modelId="{67EC8F35-547B-4E3A-9593-A026EF931A14}" srcId="{6E141916-E09E-43CC-ACF6-D308982F8A7E}" destId="{65F2D6D3-D56C-490C-BB75-329E966E0E23}" srcOrd="2" destOrd="0" parTransId="{B664F580-3530-419D-A082-C9398654066D}" sibTransId="{734C9BD9-3616-4F53-A215-8DB8C8C00650}"/>
    <dgm:cxn modelId="{0E8CFF58-8E2E-4273-AC3D-7ADD317D7344}" type="presOf" srcId="{65F2D6D3-D56C-490C-BB75-329E966E0E23}" destId="{273B57EF-8508-4B5F-B295-605E6A31FB98}" srcOrd="0" destOrd="0" presId="urn:microsoft.com/office/officeart/2005/8/layout/process2"/>
    <dgm:cxn modelId="{EA387197-99BA-4389-B35D-FFAB32527E1A}" type="presOf" srcId="{95039902-6862-41A1-BDEC-0280C32C303B}" destId="{CD7EB3BB-7FFF-47AB-A700-68F2D3E0696F}" srcOrd="0" destOrd="0" presId="urn:microsoft.com/office/officeart/2005/8/layout/process2"/>
    <dgm:cxn modelId="{D2595D9F-2A7B-46D9-A5FB-416EF063E9B1}" type="presOf" srcId="{6E141916-E09E-43CC-ACF6-D308982F8A7E}" destId="{A1946830-9EF6-4237-B8BE-DC12B751EF1C}" srcOrd="0" destOrd="0" presId="urn:microsoft.com/office/officeart/2005/8/layout/process2"/>
    <dgm:cxn modelId="{34FD47AB-A497-4872-9E94-6B54DA233545}" type="presOf" srcId="{282FB721-187A-4C5C-A3EC-828289CDC6E9}" destId="{EC7F69BB-C825-4EB6-83F1-393809C6D382}" srcOrd="0" destOrd="0" presId="urn:microsoft.com/office/officeart/2005/8/layout/process2"/>
    <dgm:cxn modelId="{78C176EA-AFCC-47F2-8F4B-D37F1B1429FC}" srcId="{6E141916-E09E-43CC-ACF6-D308982F8A7E}" destId="{1A47E358-55BF-4F77-A901-CA82B3454268}" srcOrd="0" destOrd="0" parTransId="{A31FE9B6-8D63-4816-AA1D-0E6CF7D5B6A9}" sibTransId="{DF8E6847-3C55-4BA3-A612-F20BE1477A32}"/>
    <dgm:cxn modelId="{9EC474F8-8707-46F2-9090-34C8BEDB6D40}" type="presOf" srcId="{1A47E358-55BF-4F77-A901-CA82B3454268}" destId="{276A6999-D3BC-4799-8344-D4022095E113}" srcOrd="0" destOrd="0" presId="urn:microsoft.com/office/officeart/2005/8/layout/process2"/>
    <dgm:cxn modelId="{38632CF9-9231-4555-A458-433C6F61DF1F}" type="presOf" srcId="{DF8E6847-3C55-4BA3-A612-F20BE1477A32}" destId="{3A274CAF-F970-442E-A808-7C25C809835B}" srcOrd="1" destOrd="0" presId="urn:microsoft.com/office/officeart/2005/8/layout/process2"/>
    <dgm:cxn modelId="{AD0072CE-6B37-4E97-84C0-6DB15F8FEC9C}" type="presParOf" srcId="{A1946830-9EF6-4237-B8BE-DC12B751EF1C}" destId="{276A6999-D3BC-4799-8344-D4022095E113}" srcOrd="0" destOrd="0" presId="urn:microsoft.com/office/officeart/2005/8/layout/process2"/>
    <dgm:cxn modelId="{D05C497C-A5E5-411A-A119-605ED2DE5D9D}" type="presParOf" srcId="{A1946830-9EF6-4237-B8BE-DC12B751EF1C}" destId="{FC4A369B-8FFD-4312-B47D-D74CC986D061}" srcOrd="1" destOrd="0" presId="urn:microsoft.com/office/officeart/2005/8/layout/process2"/>
    <dgm:cxn modelId="{7FB4AABC-E5A8-445D-82B8-341D79E9FE5C}" type="presParOf" srcId="{FC4A369B-8FFD-4312-B47D-D74CC986D061}" destId="{3A274CAF-F970-442E-A808-7C25C809835B}" srcOrd="0" destOrd="0" presId="urn:microsoft.com/office/officeart/2005/8/layout/process2"/>
    <dgm:cxn modelId="{E46B96DC-39A3-461F-9B7E-9B0E4429CA6F}" type="presParOf" srcId="{A1946830-9EF6-4237-B8BE-DC12B751EF1C}" destId="{EC7F69BB-C825-4EB6-83F1-393809C6D382}" srcOrd="2" destOrd="0" presId="urn:microsoft.com/office/officeart/2005/8/layout/process2"/>
    <dgm:cxn modelId="{B84B9561-44B8-4C51-91A7-CFC682BB4A26}" type="presParOf" srcId="{A1946830-9EF6-4237-B8BE-DC12B751EF1C}" destId="{CD7EB3BB-7FFF-47AB-A700-68F2D3E0696F}" srcOrd="3" destOrd="0" presId="urn:microsoft.com/office/officeart/2005/8/layout/process2"/>
    <dgm:cxn modelId="{D96844D2-8C20-4D5E-BCD0-BFC3F5FE8CC4}" type="presParOf" srcId="{CD7EB3BB-7FFF-47AB-A700-68F2D3E0696F}" destId="{D3AD4FDF-365F-4BE8-A89C-0BD79C30FD28}" srcOrd="0" destOrd="0" presId="urn:microsoft.com/office/officeart/2005/8/layout/process2"/>
    <dgm:cxn modelId="{3CE76238-4FB6-4A67-AE70-B37ADE340295}" type="presParOf" srcId="{A1946830-9EF6-4237-B8BE-DC12B751EF1C}" destId="{273B57EF-8508-4B5F-B295-605E6A31FB98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E141916-E09E-43CC-ACF6-D308982F8A7E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1A47E358-55BF-4F77-A901-CA82B3454268}">
      <dgm:prSet phldrT="[Text]"/>
      <dgm:spPr/>
      <dgm:t>
        <a:bodyPr/>
        <a:lstStyle/>
        <a:p>
          <a:r>
            <a:rPr lang="en-US"/>
            <a:t>Website outside SGRE landscape</a:t>
          </a:r>
        </a:p>
      </dgm:t>
    </dgm:pt>
    <dgm:pt modelId="{A31FE9B6-8D63-4816-AA1D-0E6CF7D5B6A9}" type="parTrans" cxnId="{78C176EA-AFCC-47F2-8F4B-D37F1B1429FC}">
      <dgm:prSet/>
      <dgm:spPr/>
      <dgm:t>
        <a:bodyPr/>
        <a:lstStyle/>
        <a:p>
          <a:endParaRPr lang="en-US"/>
        </a:p>
      </dgm:t>
    </dgm:pt>
    <dgm:pt modelId="{DF8E6847-3C55-4BA3-A612-F20BE1477A32}" type="sibTrans" cxnId="{78C176EA-AFCC-47F2-8F4B-D37F1B1429FC}">
      <dgm:prSet/>
      <dgm:spPr/>
      <dgm:t>
        <a:bodyPr/>
        <a:lstStyle/>
        <a:p>
          <a:endParaRPr lang="en-US"/>
        </a:p>
      </dgm:t>
    </dgm:pt>
    <dgm:pt modelId="{282FB721-187A-4C5C-A3EC-828289CDC6E9}">
      <dgm:prSet phldrT="[Text]"/>
      <dgm:spPr/>
      <dgm:t>
        <a:bodyPr/>
        <a:lstStyle/>
        <a:p>
          <a:r>
            <a:rPr lang="en-US"/>
            <a:t>License problems, change to SGRE landscape</a:t>
          </a:r>
        </a:p>
      </dgm:t>
    </dgm:pt>
    <dgm:pt modelId="{E718D4AA-B367-44D0-B86B-97D5429F8F46}" type="parTrans" cxnId="{F401F323-78DD-4C17-90D1-364BC23A979B}">
      <dgm:prSet/>
      <dgm:spPr/>
      <dgm:t>
        <a:bodyPr/>
        <a:lstStyle/>
        <a:p>
          <a:endParaRPr lang="en-US"/>
        </a:p>
      </dgm:t>
    </dgm:pt>
    <dgm:pt modelId="{95039902-6862-41A1-BDEC-0280C32C303B}" type="sibTrans" cxnId="{F401F323-78DD-4C17-90D1-364BC23A979B}">
      <dgm:prSet/>
      <dgm:spPr/>
      <dgm:t>
        <a:bodyPr/>
        <a:lstStyle/>
        <a:p>
          <a:endParaRPr lang="en-US"/>
        </a:p>
      </dgm:t>
    </dgm:pt>
    <dgm:pt modelId="{65F2D6D3-D56C-490C-BB75-329E966E0E23}">
      <dgm:prSet phldrT="[Text]"/>
      <dgm:spPr/>
      <dgm:t>
        <a:bodyPr/>
        <a:lstStyle/>
        <a:p>
          <a:r>
            <a:rPr lang="en-US"/>
            <a:t>Go-live and access issues</a:t>
          </a:r>
        </a:p>
      </dgm:t>
    </dgm:pt>
    <dgm:pt modelId="{B664F580-3530-419D-A082-C9398654066D}" type="parTrans" cxnId="{67EC8F35-547B-4E3A-9593-A026EF931A14}">
      <dgm:prSet/>
      <dgm:spPr/>
      <dgm:t>
        <a:bodyPr/>
        <a:lstStyle/>
        <a:p>
          <a:endParaRPr lang="en-US"/>
        </a:p>
      </dgm:t>
    </dgm:pt>
    <dgm:pt modelId="{734C9BD9-3616-4F53-A215-8DB8C8C00650}" type="sibTrans" cxnId="{67EC8F35-547B-4E3A-9593-A026EF931A14}">
      <dgm:prSet/>
      <dgm:spPr/>
      <dgm:t>
        <a:bodyPr/>
        <a:lstStyle/>
        <a:p>
          <a:endParaRPr lang="en-US"/>
        </a:p>
      </dgm:t>
    </dgm:pt>
    <dgm:pt modelId="{A1946830-9EF6-4237-B8BE-DC12B751EF1C}" type="pres">
      <dgm:prSet presAssocID="{6E141916-E09E-43CC-ACF6-D308982F8A7E}" presName="linearFlow" presStyleCnt="0">
        <dgm:presLayoutVars>
          <dgm:resizeHandles val="exact"/>
        </dgm:presLayoutVars>
      </dgm:prSet>
      <dgm:spPr/>
    </dgm:pt>
    <dgm:pt modelId="{276A6999-D3BC-4799-8344-D4022095E113}" type="pres">
      <dgm:prSet presAssocID="{1A47E358-55BF-4F77-A901-CA82B3454268}" presName="node" presStyleLbl="node1" presStyleIdx="0" presStyleCnt="3">
        <dgm:presLayoutVars>
          <dgm:bulletEnabled val="1"/>
        </dgm:presLayoutVars>
      </dgm:prSet>
      <dgm:spPr/>
    </dgm:pt>
    <dgm:pt modelId="{FC4A369B-8FFD-4312-B47D-D74CC986D061}" type="pres">
      <dgm:prSet presAssocID="{DF8E6847-3C55-4BA3-A612-F20BE1477A32}" presName="sibTrans" presStyleLbl="sibTrans2D1" presStyleIdx="0" presStyleCnt="2"/>
      <dgm:spPr/>
    </dgm:pt>
    <dgm:pt modelId="{3A274CAF-F970-442E-A808-7C25C809835B}" type="pres">
      <dgm:prSet presAssocID="{DF8E6847-3C55-4BA3-A612-F20BE1477A32}" presName="connectorText" presStyleLbl="sibTrans2D1" presStyleIdx="0" presStyleCnt="2"/>
      <dgm:spPr/>
    </dgm:pt>
    <dgm:pt modelId="{EC7F69BB-C825-4EB6-83F1-393809C6D382}" type="pres">
      <dgm:prSet presAssocID="{282FB721-187A-4C5C-A3EC-828289CDC6E9}" presName="node" presStyleLbl="node1" presStyleIdx="1" presStyleCnt="3">
        <dgm:presLayoutVars>
          <dgm:bulletEnabled val="1"/>
        </dgm:presLayoutVars>
      </dgm:prSet>
      <dgm:spPr/>
    </dgm:pt>
    <dgm:pt modelId="{CD7EB3BB-7FFF-47AB-A700-68F2D3E0696F}" type="pres">
      <dgm:prSet presAssocID="{95039902-6862-41A1-BDEC-0280C32C303B}" presName="sibTrans" presStyleLbl="sibTrans2D1" presStyleIdx="1" presStyleCnt="2"/>
      <dgm:spPr/>
    </dgm:pt>
    <dgm:pt modelId="{D3AD4FDF-365F-4BE8-A89C-0BD79C30FD28}" type="pres">
      <dgm:prSet presAssocID="{95039902-6862-41A1-BDEC-0280C32C303B}" presName="connectorText" presStyleLbl="sibTrans2D1" presStyleIdx="1" presStyleCnt="2"/>
      <dgm:spPr/>
    </dgm:pt>
    <dgm:pt modelId="{273B57EF-8508-4B5F-B295-605E6A31FB98}" type="pres">
      <dgm:prSet presAssocID="{65F2D6D3-D56C-490C-BB75-329E966E0E23}" presName="node" presStyleLbl="node1" presStyleIdx="2" presStyleCnt="3">
        <dgm:presLayoutVars>
          <dgm:bulletEnabled val="1"/>
        </dgm:presLayoutVars>
      </dgm:prSet>
      <dgm:spPr/>
    </dgm:pt>
  </dgm:ptLst>
  <dgm:cxnLst>
    <dgm:cxn modelId="{2C64F000-2BB0-490A-A9CC-1DCA4BC14666}" type="presOf" srcId="{95039902-6862-41A1-BDEC-0280C32C303B}" destId="{D3AD4FDF-365F-4BE8-A89C-0BD79C30FD28}" srcOrd="1" destOrd="0" presId="urn:microsoft.com/office/officeart/2005/8/layout/process2"/>
    <dgm:cxn modelId="{6C989A23-B2E7-4F5E-893F-DCF6EF1649B7}" type="presOf" srcId="{DF8E6847-3C55-4BA3-A612-F20BE1477A32}" destId="{FC4A369B-8FFD-4312-B47D-D74CC986D061}" srcOrd="0" destOrd="0" presId="urn:microsoft.com/office/officeart/2005/8/layout/process2"/>
    <dgm:cxn modelId="{F401F323-78DD-4C17-90D1-364BC23A979B}" srcId="{6E141916-E09E-43CC-ACF6-D308982F8A7E}" destId="{282FB721-187A-4C5C-A3EC-828289CDC6E9}" srcOrd="1" destOrd="0" parTransId="{E718D4AA-B367-44D0-B86B-97D5429F8F46}" sibTransId="{95039902-6862-41A1-BDEC-0280C32C303B}"/>
    <dgm:cxn modelId="{67EC8F35-547B-4E3A-9593-A026EF931A14}" srcId="{6E141916-E09E-43CC-ACF6-D308982F8A7E}" destId="{65F2D6D3-D56C-490C-BB75-329E966E0E23}" srcOrd="2" destOrd="0" parTransId="{B664F580-3530-419D-A082-C9398654066D}" sibTransId="{734C9BD9-3616-4F53-A215-8DB8C8C00650}"/>
    <dgm:cxn modelId="{0E8CFF58-8E2E-4273-AC3D-7ADD317D7344}" type="presOf" srcId="{65F2D6D3-D56C-490C-BB75-329E966E0E23}" destId="{273B57EF-8508-4B5F-B295-605E6A31FB98}" srcOrd="0" destOrd="0" presId="urn:microsoft.com/office/officeart/2005/8/layout/process2"/>
    <dgm:cxn modelId="{EA387197-99BA-4389-B35D-FFAB32527E1A}" type="presOf" srcId="{95039902-6862-41A1-BDEC-0280C32C303B}" destId="{CD7EB3BB-7FFF-47AB-A700-68F2D3E0696F}" srcOrd="0" destOrd="0" presId="urn:microsoft.com/office/officeart/2005/8/layout/process2"/>
    <dgm:cxn modelId="{D2595D9F-2A7B-46D9-A5FB-416EF063E9B1}" type="presOf" srcId="{6E141916-E09E-43CC-ACF6-D308982F8A7E}" destId="{A1946830-9EF6-4237-B8BE-DC12B751EF1C}" srcOrd="0" destOrd="0" presId="urn:microsoft.com/office/officeart/2005/8/layout/process2"/>
    <dgm:cxn modelId="{34FD47AB-A497-4872-9E94-6B54DA233545}" type="presOf" srcId="{282FB721-187A-4C5C-A3EC-828289CDC6E9}" destId="{EC7F69BB-C825-4EB6-83F1-393809C6D382}" srcOrd="0" destOrd="0" presId="urn:microsoft.com/office/officeart/2005/8/layout/process2"/>
    <dgm:cxn modelId="{78C176EA-AFCC-47F2-8F4B-D37F1B1429FC}" srcId="{6E141916-E09E-43CC-ACF6-D308982F8A7E}" destId="{1A47E358-55BF-4F77-A901-CA82B3454268}" srcOrd="0" destOrd="0" parTransId="{A31FE9B6-8D63-4816-AA1D-0E6CF7D5B6A9}" sibTransId="{DF8E6847-3C55-4BA3-A612-F20BE1477A32}"/>
    <dgm:cxn modelId="{9EC474F8-8707-46F2-9090-34C8BEDB6D40}" type="presOf" srcId="{1A47E358-55BF-4F77-A901-CA82B3454268}" destId="{276A6999-D3BC-4799-8344-D4022095E113}" srcOrd="0" destOrd="0" presId="urn:microsoft.com/office/officeart/2005/8/layout/process2"/>
    <dgm:cxn modelId="{38632CF9-9231-4555-A458-433C6F61DF1F}" type="presOf" srcId="{DF8E6847-3C55-4BA3-A612-F20BE1477A32}" destId="{3A274CAF-F970-442E-A808-7C25C809835B}" srcOrd="1" destOrd="0" presId="urn:microsoft.com/office/officeart/2005/8/layout/process2"/>
    <dgm:cxn modelId="{AD0072CE-6B37-4E97-84C0-6DB15F8FEC9C}" type="presParOf" srcId="{A1946830-9EF6-4237-B8BE-DC12B751EF1C}" destId="{276A6999-D3BC-4799-8344-D4022095E113}" srcOrd="0" destOrd="0" presId="urn:microsoft.com/office/officeart/2005/8/layout/process2"/>
    <dgm:cxn modelId="{D05C497C-A5E5-411A-A119-605ED2DE5D9D}" type="presParOf" srcId="{A1946830-9EF6-4237-B8BE-DC12B751EF1C}" destId="{FC4A369B-8FFD-4312-B47D-D74CC986D061}" srcOrd="1" destOrd="0" presId="urn:microsoft.com/office/officeart/2005/8/layout/process2"/>
    <dgm:cxn modelId="{7FB4AABC-E5A8-445D-82B8-341D79E9FE5C}" type="presParOf" srcId="{FC4A369B-8FFD-4312-B47D-D74CC986D061}" destId="{3A274CAF-F970-442E-A808-7C25C809835B}" srcOrd="0" destOrd="0" presId="urn:microsoft.com/office/officeart/2005/8/layout/process2"/>
    <dgm:cxn modelId="{E46B96DC-39A3-461F-9B7E-9B0E4429CA6F}" type="presParOf" srcId="{A1946830-9EF6-4237-B8BE-DC12B751EF1C}" destId="{EC7F69BB-C825-4EB6-83F1-393809C6D382}" srcOrd="2" destOrd="0" presId="urn:microsoft.com/office/officeart/2005/8/layout/process2"/>
    <dgm:cxn modelId="{B84B9561-44B8-4C51-91A7-CFC682BB4A26}" type="presParOf" srcId="{A1946830-9EF6-4237-B8BE-DC12B751EF1C}" destId="{CD7EB3BB-7FFF-47AB-A700-68F2D3E0696F}" srcOrd="3" destOrd="0" presId="urn:microsoft.com/office/officeart/2005/8/layout/process2"/>
    <dgm:cxn modelId="{D96844D2-8C20-4D5E-BCD0-BFC3F5FE8CC4}" type="presParOf" srcId="{CD7EB3BB-7FFF-47AB-A700-68F2D3E0696F}" destId="{D3AD4FDF-365F-4BE8-A89C-0BD79C30FD28}" srcOrd="0" destOrd="0" presId="urn:microsoft.com/office/officeart/2005/8/layout/process2"/>
    <dgm:cxn modelId="{3CE76238-4FB6-4A67-AE70-B37ADE340295}" type="presParOf" srcId="{A1946830-9EF6-4237-B8BE-DC12B751EF1C}" destId="{273B57EF-8508-4B5F-B295-605E6A31FB98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E141916-E09E-43CC-ACF6-D308982F8A7E}" type="doc">
      <dgm:prSet loTypeId="urn:microsoft.com/office/officeart/2005/8/layout/process2" loCatId="process" qsTypeId="urn:microsoft.com/office/officeart/2005/8/quickstyle/simple1" qsCatId="simple" csTypeId="urn:microsoft.com/office/officeart/2005/8/colors/accent1_3" csCatId="accent1" phldr="1"/>
      <dgm:spPr/>
    </dgm:pt>
    <dgm:pt modelId="{1A47E358-55BF-4F77-A901-CA82B3454268}">
      <dgm:prSet phldrT="[Text]"/>
      <dgm:spPr/>
      <dgm:t>
        <a:bodyPr/>
        <a:lstStyle/>
        <a:p>
          <a:r>
            <a:rPr lang="en-US"/>
            <a:t>Migration back out of SGRE landscape</a:t>
          </a:r>
        </a:p>
      </dgm:t>
    </dgm:pt>
    <dgm:pt modelId="{A31FE9B6-8D63-4816-AA1D-0E6CF7D5B6A9}" type="parTrans" cxnId="{78C176EA-AFCC-47F2-8F4B-D37F1B1429FC}">
      <dgm:prSet/>
      <dgm:spPr/>
      <dgm:t>
        <a:bodyPr/>
        <a:lstStyle/>
        <a:p>
          <a:endParaRPr lang="en-US"/>
        </a:p>
      </dgm:t>
    </dgm:pt>
    <dgm:pt modelId="{DF8E6847-3C55-4BA3-A612-F20BE1477A32}" type="sibTrans" cxnId="{78C176EA-AFCC-47F2-8F4B-D37F1B1429FC}">
      <dgm:prSet/>
      <dgm:spPr/>
      <dgm:t>
        <a:bodyPr/>
        <a:lstStyle/>
        <a:p>
          <a:endParaRPr lang="en-US"/>
        </a:p>
      </dgm:t>
    </dgm:pt>
    <dgm:pt modelId="{282FB721-187A-4C5C-A3EC-828289CDC6E9}">
      <dgm:prSet phldrT="[Text]"/>
      <dgm:spPr/>
      <dgm:t>
        <a:bodyPr/>
        <a:lstStyle/>
        <a:p>
          <a:r>
            <a:rPr lang="en-US"/>
            <a:t>Negotiation on cost occurred</a:t>
          </a:r>
        </a:p>
      </dgm:t>
    </dgm:pt>
    <dgm:pt modelId="{E718D4AA-B367-44D0-B86B-97D5429F8F46}" type="parTrans" cxnId="{F401F323-78DD-4C17-90D1-364BC23A979B}">
      <dgm:prSet/>
      <dgm:spPr/>
      <dgm:t>
        <a:bodyPr/>
        <a:lstStyle/>
        <a:p>
          <a:endParaRPr lang="en-US"/>
        </a:p>
      </dgm:t>
    </dgm:pt>
    <dgm:pt modelId="{95039902-6862-41A1-BDEC-0280C32C303B}" type="sibTrans" cxnId="{F401F323-78DD-4C17-90D1-364BC23A979B}">
      <dgm:prSet/>
      <dgm:spPr/>
      <dgm:t>
        <a:bodyPr/>
        <a:lstStyle/>
        <a:p>
          <a:endParaRPr lang="en-US"/>
        </a:p>
      </dgm:t>
    </dgm:pt>
    <dgm:pt modelId="{A1946830-9EF6-4237-B8BE-DC12B751EF1C}" type="pres">
      <dgm:prSet presAssocID="{6E141916-E09E-43CC-ACF6-D308982F8A7E}" presName="linearFlow" presStyleCnt="0">
        <dgm:presLayoutVars>
          <dgm:resizeHandles val="exact"/>
        </dgm:presLayoutVars>
      </dgm:prSet>
      <dgm:spPr/>
    </dgm:pt>
    <dgm:pt modelId="{276A6999-D3BC-4799-8344-D4022095E113}" type="pres">
      <dgm:prSet presAssocID="{1A47E358-55BF-4F77-A901-CA82B3454268}" presName="node" presStyleLbl="node1" presStyleIdx="0" presStyleCnt="2">
        <dgm:presLayoutVars>
          <dgm:bulletEnabled val="1"/>
        </dgm:presLayoutVars>
      </dgm:prSet>
      <dgm:spPr/>
    </dgm:pt>
    <dgm:pt modelId="{FC4A369B-8FFD-4312-B47D-D74CC986D061}" type="pres">
      <dgm:prSet presAssocID="{DF8E6847-3C55-4BA3-A612-F20BE1477A32}" presName="sibTrans" presStyleLbl="sibTrans2D1" presStyleIdx="0" presStyleCnt="1"/>
      <dgm:spPr/>
    </dgm:pt>
    <dgm:pt modelId="{3A274CAF-F970-442E-A808-7C25C809835B}" type="pres">
      <dgm:prSet presAssocID="{DF8E6847-3C55-4BA3-A612-F20BE1477A32}" presName="connectorText" presStyleLbl="sibTrans2D1" presStyleIdx="0" presStyleCnt="1"/>
      <dgm:spPr/>
    </dgm:pt>
    <dgm:pt modelId="{EC7F69BB-C825-4EB6-83F1-393809C6D382}" type="pres">
      <dgm:prSet presAssocID="{282FB721-187A-4C5C-A3EC-828289CDC6E9}" presName="node" presStyleLbl="node1" presStyleIdx="1" presStyleCnt="2">
        <dgm:presLayoutVars>
          <dgm:bulletEnabled val="1"/>
        </dgm:presLayoutVars>
      </dgm:prSet>
      <dgm:spPr/>
    </dgm:pt>
  </dgm:ptLst>
  <dgm:cxnLst>
    <dgm:cxn modelId="{6C989A23-B2E7-4F5E-893F-DCF6EF1649B7}" type="presOf" srcId="{DF8E6847-3C55-4BA3-A612-F20BE1477A32}" destId="{FC4A369B-8FFD-4312-B47D-D74CC986D061}" srcOrd="0" destOrd="0" presId="urn:microsoft.com/office/officeart/2005/8/layout/process2"/>
    <dgm:cxn modelId="{F401F323-78DD-4C17-90D1-364BC23A979B}" srcId="{6E141916-E09E-43CC-ACF6-D308982F8A7E}" destId="{282FB721-187A-4C5C-A3EC-828289CDC6E9}" srcOrd="1" destOrd="0" parTransId="{E718D4AA-B367-44D0-B86B-97D5429F8F46}" sibTransId="{95039902-6862-41A1-BDEC-0280C32C303B}"/>
    <dgm:cxn modelId="{D2595D9F-2A7B-46D9-A5FB-416EF063E9B1}" type="presOf" srcId="{6E141916-E09E-43CC-ACF6-D308982F8A7E}" destId="{A1946830-9EF6-4237-B8BE-DC12B751EF1C}" srcOrd="0" destOrd="0" presId="urn:microsoft.com/office/officeart/2005/8/layout/process2"/>
    <dgm:cxn modelId="{34FD47AB-A497-4872-9E94-6B54DA233545}" type="presOf" srcId="{282FB721-187A-4C5C-A3EC-828289CDC6E9}" destId="{EC7F69BB-C825-4EB6-83F1-393809C6D382}" srcOrd="0" destOrd="0" presId="urn:microsoft.com/office/officeart/2005/8/layout/process2"/>
    <dgm:cxn modelId="{78C176EA-AFCC-47F2-8F4B-D37F1B1429FC}" srcId="{6E141916-E09E-43CC-ACF6-D308982F8A7E}" destId="{1A47E358-55BF-4F77-A901-CA82B3454268}" srcOrd="0" destOrd="0" parTransId="{A31FE9B6-8D63-4816-AA1D-0E6CF7D5B6A9}" sibTransId="{DF8E6847-3C55-4BA3-A612-F20BE1477A32}"/>
    <dgm:cxn modelId="{9EC474F8-8707-46F2-9090-34C8BEDB6D40}" type="presOf" srcId="{1A47E358-55BF-4F77-A901-CA82B3454268}" destId="{276A6999-D3BC-4799-8344-D4022095E113}" srcOrd="0" destOrd="0" presId="urn:microsoft.com/office/officeart/2005/8/layout/process2"/>
    <dgm:cxn modelId="{38632CF9-9231-4555-A458-433C6F61DF1F}" type="presOf" srcId="{DF8E6847-3C55-4BA3-A612-F20BE1477A32}" destId="{3A274CAF-F970-442E-A808-7C25C809835B}" srcOrd="1" destOrd="0" presId="urn:microsoft.com/office/officeart/2005/8/layout/process2"/>
    <dgm:cxn modelId="{AD0072CE-6B37-4E97-84C0-6DB15F8FEC9C}" type="presParOf" srcId="{A1946830-9EF6-4237-B8BE-DC12B751EF1C}" destId="{276A6999-D3BC-4799-8344-D4022095E113}" srcOrd="0" destOrd="0" presId="urn:microsoft.com/office/officeart/2005/8/layout/process2"/>
    <dgm:cxn modelId="{D05C497C-A5E5-411A-A119-605ED2DE5D9D}" type="presParOf" srcId="{A1946830-9EF6-4237-B8BE-DC12B751EF1C}" destId="{FC4A369B-8FFD-4312-B47D-D74CC986D061}" srcOrd="1" destOrd="0" presId="urn:microsoft.com/office/officeart/2005/8/layout/process2"/>
    <dgm:cxn modelId="{7FB4AABC-E5A8-445D-82B8-341D79E9FE5C}" type="presParOf" srcId="{FC4A369B-8FFD-4312-B47D-D74CC986D061}" destId="{3A274CAF-F970-442E-A808-7C25C809835B}" srcOrd="0" destOrd="0" presId="urn:microsoft.com/office/officeart/2005/8/layout/process2"/>
    <dgm:cxn modelId="{E46B96DC-39A3-461F-9B7E-9B0E4429CA6F}" type="presParOf" srcId="{A1946830-9EF6-4237-B8BE-DC12B751EF1C}" destId="{EC7F69BB-C825-4EB6-83F1-393809C6D382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6A6999-D3BC-4799-8344-D4022095E113}">
      <dsp:nvSpPr>
        <dsp:cNvPr id="0" name=""/>
        <dsp:cNvSpPr/>
      </dsp:nvSpPr>
      <dsp:spPr>
        <a:xfrm>
          <a:off x="1190619" y="0"/>
          <a:ext cx="1907779" cy="1059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Umbraco and Co3 / DIBS change</a:t>
          </a:r>
        </a:p>
      </dsp:txBody>
      <dsp:txXfrm>
        <a:off x="1221662" y="31043"/>
        <a:ext cx="1845693" cy="997791"/>
      </dsp:txXfrm>
    </dsp:sp>
    <dsp:sp modelId="{FC4A369B-8FFD-4312-B47D-D74CC986D061}">
      <dsp:nvSpPr>
        <dsp:cNvPr id="0" name=""/>
        <dsp:cNvSpPr/>
      </dsp:nvSpPr>
      <dsp:spPr>
        <a:xfrm rot="5400000">
          <a:off x="1945781" y="1086374"/>
          <a:ext cx="397454" cy="4769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2001425" y="1126119"/>
        <a:ext cx="286166" cy="278218"/>
      </dsp:txXfrm>
    </dsp:sp>
    <dsp:sp modelId="{EC7F69BB-C825-4EB6-83F1-393809C6D382}">
      <dsp:nvSpPr>
        <dsp:cNvPr id="0" name=""/>
        <dsp:cNvSpPr/>
      </dsp:nvSpPr>
      <dsp:spPr>
        <a:xfrm>
          <a:off x="1190619" y="1589816"/>
          <a:ext cx="1907779" cy="1059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Concept / requirement list</a:t>
          </a:r>
        </a:p>
      </dsp:txBody>
      <dsp:txXfrm>
        <a:off x="1221662" y="1620859"/>
        <a:ext cx="1845693" cy="997791"/>
      </dsp:txXfrm>
    </dsp:sp>
    <dsp:sp modelId="{CD7EB3BB-7FFF-47AB-A700-68F2D3E0696F}">
      <dsp:nvSpPr>
        <dsp:cNvPr id="0" name=""/>
        <dsp:cNvSpPr/>
      </dsp:nvSpPr>
      <dsp:spPr>
        <a:xfrm rot="5400000">
          <a:off x="1945781" y="2676191"/>
          <a:ext cx="397454" cy="4769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2001425" y="2715936"/>
        <a:ext cx="286166" cy="278218"/>
      </dsp:txXfrm>
    </dsp:sp>
    <dsp:sp modelId="{273B57EF-8508-4B5F-B295-605E6A31FB98}">
      <dsp:nvSpPr>
        <dsp:cNvPr id="0" name=""/>
        <dsp:cNvSpPr/>
      </dsp:nvSpPr>
      <dsp:spPr>
        <a:xfrm>
          <a:off x="1190619" y="3179633"/>
          <a:ext cx="1907779" cy="1059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Supplier identification and awarding</a:t>
          </a:r>
        </a:p>
      </dsp:txBody>
      <dsp:txXfrm>
        <a:off x="1221662" y="3210676"/>
        <a:ext cx="1845693" cy="9977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6A6999-D3BC-4799-8344-D4022095E113}">
      <dsp:nvSpPr>
        <dsp:cNvPr id="0" name=""/>
        <dsp:cNvSpPr/>
      </dsp:nvSpPr>
      <dsp:spPr>
        <a:xfrm>
          <a:off x="1117197" y="0"/>
          <a:ext cx="2054622" cy="1060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Website outside SGRE landscape</a:t>
          </a:r>
        </a:p>
      </dsp:txBody>
      <dsp:txXfrm>
        <a:off x="1148257" y="31060"/>
        <a:ext cx="1992502" cy="998330"/>
      </dsp:txXfrm>
    </dsp:sp>
    <dsp:sp modelId="{FC4A369B-8FFD-4312-B47D-D74CC986D061}">
      <dsp:nvSpPr>
        <dsp:cNvPr id="0" name=""/>
        <dsp:cNvSpPr/>
      </dsp:nvSpPr>
      <dsp:spPr>
        <a:xfrm rot="5400000">
          <a:off x="1945674" y="1086961"/>
          <a:ext cx="397668" cy="4772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-5400000">
        <a:off x="2001347" y="1126728"/>
        <a:ext cx="286322" cy="278368"/>
      </dsp:txXfrm>
    </dsp:sp>
    <dsp:sp modelId="{EC7F69BB-C825-4EB6-83F1-393809C6D382}">
      <dsp:nvSpPr>
        <dsp:cNvPr id="0" name=""/>
        <dsp:cNvSpPr/>
      </dsp:nvSpPr>
      <dsp:spPr>
        <a:xfrm>
          <a:off x="1117197" y="1590675"/>
          <a:ext cx="2054622" cy="1060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License problems, change to SGRE landscape</a:t>
          </a:r>
        </a:p>
      </dsp:txBody>
      <dsp:txXfrm>
        <a:off x="1148257" y="1621735"/>
        <a:ext cx="1992502" cy="998330"/>
      </dsp:txXfrm>
    </dsp:sp>
    <dsp:sp modelId="{CD7EB3BB-7FFF-47AB-A700-68F2D3E0696F}">
      <dsp:nvSpPr>
        <dsp:cNvPr id="0" name=""/>
        <dsp:cNvSpPr/>
      </dsp:nvSpPr>
      <dsp:spPr>
        <a:xfrm rot="5400000">
          <a:off x="1945674" y="2677636"/>
          <a:ext cx="397668" cy="4772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-5400000">
        <a:off x="2001347" y="2717403"/>
        <a:ext cx="286322" cy="278368"/>
      </dsp:txXfrm>
    </dsp:sp>
    <dsp:sp modelId="{273B57EF-8508-4B5F-B295-605E6A31FB98}">
      <dsp:nvSpPr>
        <dsp:cNvPr id="0" name=""/>
        <dsp:cNvSpPr/>
      </dsp:nvSpPr>
      <dsp:spPr>
        <a:xfrm>
          <a:off x="1117197" y="3181350"/>
          <a:ext cx="2054622" cy="1060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Go-live and access issues</a:t>
          </a:r>
        </a:p>
      </dsp:txBody>
      <dsp:txXfrm>
        <a:off x="1148257" y="3212410"/>
        <a:ext cx="1992502" cy="9983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6A6999-D3BC-4799-8344-D4022095E113}">
      <dsp:nvSpPr>
        <dsp:cNvPr id="0" name=""/>
        <dsp:cNvSpPr/>
      </dsp:nvSpPr>
      <dsp:spPr>
        <a:xfrm>
          <a:off x="637420" y="327"/>
          <a:ext cx="1928701" cy="1071500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Migration back out of SGRE landscape</a:t>
          </a:r>
        </a:p>
      </dsp:txBody>
      <dsp:txXfrm>
        <a:off x="668803" y="31710"/>
        <a:ext cx="1865935" cy="1008734"/>
      </dsp:txXfrm>
    </dsp:sp>
    <dsp:sp modelId="{FC4A369B-8FFD-4312-B47D-D74CC986D061}">
      <dsp:nvSpPr>
        <dsp:cNvPr id="0" name=""/>
        <dsp:cNvSpPr/>
      </dsp:nvSpPr>
      <dsp:spPr>
        <a:xfrm rot="5400000">
          <a:off x="1400864" y="1098615"/>
          <a:ext cx="401812" cy="4821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-5400000">
        <a:off x="1457118" y="1138796"/>
        <a:ext cx="289305" cy="281268"/>
      </dsp:txXfrm>
    </dsp:sp>
    <dsp:sp modelId="{EC7F69BB-C825-4EB6-83F1-393809C6D382}">
      <dsp:nvSpPr>
        <dsp:cNvPr id="0" name=""/>
        <dsp:cNvSpPr/>
      </dsp:nvSpPr>
      <dsp:spPr>
        <a:xfrm>
          <a:off x="637420" y="1607578"/>
          <a:ext cx="1928701" cy="1071500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-484016"/>
            <a:satOff val="-49974"/>
            <a:lumOff val="4294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Negotiation on cost occurred</a:t>
          </a:r>
        </a:p>
      </dsp:txBody>
      <dsp:txXfrm>
        <a:off x="668803" y="1638961"/>
        <a:ext cx="1865935" cy="1008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t>Indtægter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t>‹#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8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</a:t>
            </a:fld>
            <a:endParaRPr lang="da-DK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64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553998"/>
          </a:xfrm>
        </p:spPr>
        <p:txBody>
          <a:bodyPr/>
          <a:lstStyle/>
          <a:p>
            <a:r>
              <a:rPr lang="da-DK" err="1"/>
              <a:t>Remember</a:t>
            </a:r>
            <a:r>
              <a:rPr lang="da-DK"/>
              <a:t> to </a:t>
            </a:r>
            <a:r>
              <a:rPr lang="da-DK" err="1"/>
              <a:t>take</a:t>
            </a:r>
            <a:r>
              <a:rPr lang="da-DK"/>
              <a:t> on </a:t>
            </a:r>
            <a:r>
              <a:rPr lang="da-DK" err="1"/>
              <a:t>discussion</a:t>
            </a:r>
            <a:r>
              <a:rPr lang="da-DK"/>
              <a:t> on gifts</a:t>
            </a:r>
          </a:p>
          <a:p>
            <a:r>
              <a:rPr lang="da-DK"/>
              <a:t>Point out </a:t>
            </a:r>
            <a:r>
              <a:rPr lang="da-DK" err="1"/>
              <a:t>amount</a:t>
            </a:r>
            <a:r>
              <a:rPr lang="da-DK"/>
              <a:t> – </a:t>
            </a:r>
            <a:r>
              <a:rPr lang="da-DK" err="1"/>
              <a:t>one</a:t>
            </a:r>
            <a:r>
              <a:rPr lang="da-DK"/>
              <a:t> more slide?</a:t>
            </a:r>
          </a:p>
          <a:p>
            <a:r>
              <a:rPr lang="da-DK" err="1"/>
              <a:t>Maybe</a:t>
            </a:r>
            <a:r>
              <a:rPr lang="da-DK"/>
              <a:t> </a:t>
            </a:r>
            <a:r>
              <a:rPr lang="da-DK" err="1"/>
              <a:t>we</a:t>
            </a:r>
            <a:r>
              <a:rPr lang="da-DK"/>
              <a:t> </a:t>
            </a:r>
            <a:r>
              <a:rPr lang="da-DK" err="1"/>
              <a:t>can</a:t>
            </a:r>
            <a:r>
              <a:rPr lang="da-DK"/>
              <a:t> </a:t>
            </a:r>
            <a:r>
              <a:rPr lang="da-DK" err="1"/>
              <a:t>make</a:t>
            </a:r>
            <a:r>
              <a:rPr lang="da-DK"/>
              <a:t> a guideline for the futur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707507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959"/>
            <a:ext cx="5438140" cy="369332"/>
          </a:xfrm>
        </p:spPr>
        <p:txBody>
          <a:bodyPr/>
          <a:lstStyle/>
          <a:p>
            <a:r>
              <a:rPr lang="da-DK"/>
              <a:t>1950 medlemmer, kontingent fra 01.08, hjemmeside skubbet til 2021 (jan </a:t>
            </a:r>
            <a:r>
              <a:rPr lang="da-DK" err="1"/>
              <a:t>feb</a:t>
            </a:r>
            <a:r>
              <a:rPr lang="da-DK"/>
              <a:t> med 35 DKK fra SGR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01396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910385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394814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00501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28873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64923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9208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561669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7871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48085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7523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69134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Lene </a:t>
            </a:r>
            <a:r>
              <a:rPr lang="da-DK" err="1"/>
              <a:t>Moellgaard</a:t>
            </a:r>
            <a:r>
              <a:rPr lang="da-DK"/>
              <a:t>? (Lone spørger hen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038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18681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7563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r>
              <a:rPr lang="da-DK"/>
              <a:t>Her mangler et billede / Allan – Chili Klaus emn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274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27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65444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23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4044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 b="1"/>
              <a:t>Velkomst – </a:t>
            </a:r>
            <a:r>
              <a:rPr lang="da-DK" sz="1200" b="1" i="1"/>
              <a:t>Taus Wind-Lar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6.40 	Generalforsamling ifølge dagsorden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dirigent​ - Michael Kongedam er frivillig, ingen stemmetællere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Formandens beretning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Møllebandens Events​ 2020 - Michelle</a:t>
            </a:r>
            <a:endParaRPr lang="da-DK" sz="12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gnskab &amp; Budget  - Tabea (Birgitte)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7:30 	Underholdning ved Chilli Klaus – Henrik og Alla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8.00 	Generalforsamling fortsat og valg til bestyrelsen -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bestyrelsesmedl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Valg af revisor &amp; optælling af stemmer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Resultat af valg – Jan og dirigent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	Eventuelt – venter på, om der kommer noget fra medlemmer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200"/>
              <a:t>Kl. 19.00 	Tak for i aften (forventet tidspunkt) – Taus</a:t>
            </a:r>
          </a:p>
          <a:p>
            <a:pPr marL="0" indent="0">
              <a:spcBef>
                <a:spcPts val="600"/>
              </a:spcBef>
              <a:buNone/>
              <a:tabLst>
                <a:tab pos="1789113" algn="l"/>
              </a:tabLst>
            </a:pPr>
            <a:r>
              <a:rPr lang="da-DK" sz="1200" err="1"/>
              <a:t>MoM</a:t>
            </a:r>
            <a:r>
              <a:rPr lang="da-DK" sz="1200"/>
              <a:t> = Michelle oversætter til engelsk, Lone/Birgitte + korrekturlæsning </a:t>
            </a:r>
          </a:p>
          <a:p>
            <a:pPr marL="0" indent="0">
              <a:buNone/>
            </a:pPr>
            <a:r>
              <a:rPr lang="da-DK"/>
              <a:t>Konkurrencer og gaver – Vibeke og Birgitte + en gave til den </a:t>
            </a:r>
            <a:r>
              <a:rPr lang="da-DK" err="1"/>
              <a:t>eventmaker</a:t>
            </a:r>
            <a:r>
              <a:rPr lang="da-DK"/>
              <a:t>, der lavede det første online event (Anja)</a:t>
            </a:r>
          </a:p>
          <a:p>
            <a:pPr marL="0" indent="0">
              <a:buNone/>
            </a:pPr>
            <a:r>
              <a:rPr lang="da-DK"/>
              <a:t>Allan finder et lokal til Taus, Henrik og Tabea på konto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4922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4878259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Who</a:t>
            </a:r>
            <a:r>
              <a:rPr lang="da-DK"/>
              <a:t> </a:t>
            </a:r>
            <a:r>
              <a:rPr lang="da-DK" err="1"/>
              <a:t>could</a:t>
            </a:r>
            <a:r>
              <a:rPr lang="da-DK"/>
              <a:t> </a:t>
            </a:r>
            <a:r>
              <a:rPr lang="da-DK" err="1"/>
              <a:t>be</a:t>
            </a:r>
            <a:r>
              <a:rPr lang="da-DK"/>
              <a:t> dirigent? Marion Foss? / Taus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Præmier / Vibeke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Revisorne</a:t>
            </a:r>
            <a:r>
              <a:rPr lang="da-DK"/>
              <a:t> (2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Dirigent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MB venner (5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, with most </a:t>
            </a:r>
            <a:r>
              <a:rPr lang="da-DK" err="1"/>
              <a:t>members</a:t>
            </a:r>
            <a:r>
              <a:rPr lang="da-DK"/>
              <a:t> </a:t>
            </a:r>
            <a:r>
              <a:rPr lang="da-DK" err="1"/>
              <a:t>attending</a:t>
            </a:r>
            <a:r>
              <a:rPr lang="da-DK"/>
              <a:t>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Eventmaker</a:t>
            </a:r>
            <a:r>
              <a:rPr lang="da-DK"/>
              <a:t> with most events in 2022 (1)</a:t>
            </a:r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r>
              <a:rPr lang="da-DK" err="1"/>
              <a:t>Some</a:t>
            </a:r>
            <a:r>
              <a:rPr lang="da-DK"/>
              <a:t> to </a:t>
            </a:r>
            <a:r>
              <a:rPr lang="da-DK" err="1"/>
              <a:t>be</a:t>
            </a:r>
            <a:r>
              <a:rPr lang="da-DK"/>
              <a:t> hid under the </a:t>
            </a:r>
            <a:r>
              <a:rPr lang="da-DK" err="1"/>
              <a:t>chai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 (5)</a:t>
            </a:r>
          </a:p>
          <a:p>
            <a:pPr lvl="0">
              <a:spcBef>
                <a:spcPts val="600"/>
              </a:spcBef>
              <a:tabLst>
                <a:tab pos="1789113" algn="l"/>
              </a:tabLst>
            </a:pPr>
            <a:endParaRPr lang="da-DK"/>
          </a:p>
          <a:p>
            <a:pPr lvl="1">
              <a:spcBef>
                <a:spcPts val="600"/>
              </a:spcBef>
              <a:tabLst>
                <a:tab pos="1789113" algn="l"/>
              </a:tabLst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87883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6039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image" Target="../media/image8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CABC12-4EB8-4DCD-90F7-984F72ABEB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787648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367712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DC8C73E-E8EB-494A-B11F-82ECF7BF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DC8C73E-E8EB-494A-B11F-82ECF7BF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664FF-0A39-4D9D-943B-183A3CEEC0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926733-E80D-4F3D-99D1-F6E2C0A0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04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1DA5FF-BFC7-4B2B-B732-4E5AC2730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F3723B-525C-4593-81E2-F14F9DF1059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05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C979BC-DE9E-40B9-95AD-E8C798A89B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6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C979BC-DE9E-40B9-95AD-E8C798A89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A9324C-55CD-46DC-84A7-50F3D5732F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4F6A45A-0970-4EBA-B086-9F9FEFF12E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859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C76306-9D1B-4410-8009-B2A0D633E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C76306-9D1B-4410-8009-B2A0D63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DC4B7-17EE-44A2-B9E0-3E74F6AB22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079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FA66C3-FF13-4755-AB5E-C50FC5D6B3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6E0F97-5330-44FB-BB50-E99C2F18B5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54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B7376-BED1-40AA-B6EB-4E1045E72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96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B7376-BED1-40AA-B6EB-4E1045E72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BFECE5-2DE2-48B7-B94A-B553BAE295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8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3222C45-338E-446C-AFBF-F174BBB81E2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2641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94CF1C-69EA-4956-B690-8FB9C1916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48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94CF1C-69EA-4956-B690-8FB9C1916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7ED7FF-5F79-4792-BF7E-C19D1543F4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chemeClr val="bg1"/>
                </a:solidFill>
              </a:rPr>
              <a:t>© Siemens Gamesa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Click to edit Master </a:t>
            </a:r>
            <a:br>
              <a:rPr lang="da-DK"/>
            </a:br>
            <a:r>
              <a:rPr lang="da-DK"/>
              <a:t>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Please change </a:t>
            </a:r>
            <a:br>
              <a:rPr lang="da-DK" sz="1000"/>
            </a:br>
            <a:r>
              <a:rPr lang="da-DK" sz="1000"/>
              <a:t>on this slide </a:t>
            </a:r>
            <a:br>
              <a:rPr lang="da-DK" sz="1000"/>
            </a:br>
            <a:r>
              <a:rPr lang="da-DK" sz="1000"/>
              <a:t>the creator name</a:t>
            </a:r>
            <a:br>
              <a:rPr lang="da-DK" sz="1000"/>
            </a:br>
            <a:r>
              <a:rPr lang="da-DK" sz="100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/>
              <a:t>Right-click this background area, choose ‘Format Background…’ and </a:t>
            </a:r>
            <a:br>
              <a:rPr lang="da-DK" sz="1000"/>
            </a:br>
            <a:r>
              <a:rPr lang="da-DK" sz="1000"/>
              <a:t>fill the background with picture from </a:t>
            </a:r>
            <a:br>
              <a:rPr lang="da-DK" sz="1000"/>
            </a:br>
            <a:r>
              <a:rPr lang="da-DK" sz="1000"/>
              <a:t>file, ensuring that </a:t>
            </a:r>
            <a:br>
              <a:rPr lang="da-DK" sz="1000"/>
            </a:br>
            <a:r>
              <a:rPr lang="da-DK" sz="1000"/>
              <a:t>this is the correct </a:t>
            </a:r>
            <a:br>
              <a:rPr lang="da-DK" sz="1000"/>
            </a:br>
            <a:r>
              <a:rPr lang="da-DK" sz="1000"/>
              <a:t>16:9</a:t>
            </a:r>
            <a:r>
              <a:rPr lang="da-DK" sz="1000" baseline="0"/>
              <a:t> proportion</a:t>
            </a:r>
            <a:endParaRPr lang="da-DK" sz="10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410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71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7F2734-EEAC-4A20-8A7C-28CB3BA5C9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40E080-DFAE-451E-B1AB-BCB9F3FE1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5E24D7-0973-4C6F-9998-2F62A0ADCB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4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31FCA-6C3F-4662-BC4E-B02B9E6242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98FA86-692F-4F01-A2D3-81B937E941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7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D6727C-7C8C-495E-83E6-A599398DBC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D8F07B-A5F6-4FCC-9C1F-29E868CCB2C4}"/>
              </a:ext>
            </a:extLst>
          </p:cNvPr>
          <p:cNvSpPr/>
          <p:nvPr userDrawn="1"/>
        </p:nvSpPr>
        <p:spPr>
          <a:xfrm>
            <a:off x="5372100" y="615462"/>
            <a:ext cx="6819504" cy="208377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C2210E-4177-425C-804C-3E756E37924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14" y="893799"/>
            <a:ext cx="5010849" cy="12193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24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89F5B-E0B8-4B18-82AF-DEE4195654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151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45107B-8F3B-417D-A615-E497F68DBAF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0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11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6758A2-C2FF-48D0-A731-B9E4A9305E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410114-55A2-4FFD-93AC-CBC08BDD1C7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19154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487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49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F90809-3499-4B45-A27D-BE0B3E6225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da-DK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da-DK" noProof="0"/>
              <a:t>Name Surname</a:t>
            </a:r>
            <a:br>
              <a:rPr lang="da-DK" noProof="0"/>
            </a:br>
            <a:r>
              <a:rPr lang="da-DK" noProof="0"/>
              <a:t>Job Title </a:t>
            </a:r>
          </a:p>
          <a:p>
            <a:pPr lvl="2"/>
            <a:r>
              <a:rPr lang="da-DK" noProof="0"/>
              <a:t>Phone	+12 (34) 5678-9000</a:t>
            </a:r>
          </a:p>
          <a:p>
            <a:pPr lvl="2"/>
            <a:r>
              <a:rPr lang="da-DK" noProof="0"/>
              <a:t>Mobile	+12 (34) 5678-9000</a:t>
            </a:r>
          </a:p>
          <a:p>
            <a:pPr lvl="2"/>
            <a:r>
              <a:rPr lang="da-DK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DF5158-C138-4655-B206-31461F5A1A7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7386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EB7C84E-E5B3-4964-A900-1D4725F11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5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DEB7C84E-E5B3-4964-A900-1D4725F11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 noProof="0"/>
              <a:t>This is the SlideProof Agenda Layout</a:t>
            </a:r>
          </a:p>
          <a:p>
            <a:pPr lvl="0"/>
            <a:r>
              <a:rPr lang="da-DK" noProof="0"/>
              <a:t>http://www.veodin.com/slideproof/manual/agenda/</a:t>
            </a:r>
          </a:p>
          <a:p>
            <a:pPr lvl="0"/>
            <a:r>
              <a:rPr lang="da-DK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da-DK" noProof="0"/>
              <a:t>Expected group name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Section</a:t>
            </a:r>
          </a:p>
          <a:p>
            <a:pPr lvl="1"/>
            <a:r>
              <a:rPr lang="da-DK" noProof="0"/>
              <a:t>SP Agenda Section Highlight</a:t>
            </a:r>
          </a:p>
          <a:p>
            <a:pPr lvl="1"/>
            <a:r>
              <a:rPr lang="da-DK" noProof="0"/>
              <a:t>SP Agenda Subsection</a:t>
            </a:r>
          </a:p>
          <a:p>
            <a:pPr lvl="1"/>
            <a:r>
              <a:rPr lang="da-DK" noProof="0"/>
              <a:t>SP Agenda Subsection Highlight</a:t>
            </a:r>
          </a:p>
          <a:p>
            <a:pPr lvl="0"/>
            <a:r>
              <a:rPr lang="da-DK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da-DK" noProof="0"/>
              <a:t>Valid text placeholders are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ection number:</a:t>
            </a:r>
          </a:p>
          <a:p>
            <a:pPr lvl="1"/>
            <a:r>
              <a:rPr lang="da-DK" noProof="0"/>
              <a:t>&lt;N&gt; for Arabic number 1, 2, 3</a:t>
            </a:r>
          </a:p>
          <a:p>
            <a:pPr lvl="1"/>
            <a:r>
              <a:rPr lang="da-DK" noProof="0"/>
              <a:t>&lt;R&gt; for Roman numeral I, II, III</a:t>
            </a:r>
          </a:p>
          <a:p>
            <a:pPr lvl="1"/>
            <a:r>
              <a:rPr lang="da-DK" noProof="0"/>
              <a:t>&lt;RL&gt; for lower-case Roman numeral i, ii, iii</a:t>
            </a:r>
          </a:p>
          <a:p>
            <a:pPr lvl="1"/>
            <a:r>
              <a:rPr lang="da-DK" noProof="0"/>
              <a:t>&lt;A&gt; for alphabetic character A, B, C</a:t>
            </a:r>
          </a:p>
          <a:p>
            <a:pPr lvl="1"/>
            <a:r>
              <a:rPr lang="da-DK" noProof="0"/>
              <a:t>&lt;AL&gt; for lower-case Alphabetic character</a:t>
            </a:r>
          </a:p>
          <a:p>
            <a:pPr lvl="1"/>
            <a:r>
              <a:rPr lang="da-DK" noProof="0"/>
              <a:t>&lt;TEXT&gt;</a:t>
            </a:r>
          </a:p>
          <a:p>
            <a:pPr lvl="1"/>
            <a:r>
              <a:rPr lang="da-DK" noProof="0"/>
              <a:t>&lt;RESPONSIBLE&gt;</a:t>
            </a:r>
          </a:p>
          <a:p>
            <a:pPr lvl="1"/>
            <a:r>
              <a:rPr lang="da-DK" noProof="0"/>
              <a:t>&lt;TIMESLOT&gt;</a:t>
            </a:r>
          </a:p>
          <a:p>
            <a:pPr lvl="1"/>
            <a:r>
              <a:rPr lang="da-DK" noProof="0"/>
              <a:t>&lt;DURATION&gt; for duration</a:t>
            </a:r>
          </a:p>
          <a:p>
            <a:pPr lvl="1"/>
            <a:r>
              <a:rPr lang="da-DK" noProof="0"/>
              <a:t>&lt;P&gt; for page number</a:t>
            </a:r>
          </a:p>
          <a:p>
            <a:pPr lvl="0"/>
            <a:r>
              <a:rPr lang="da-DK" noProof="0"/>
              <a:t>If you want the agenda to be vertically centered on each Agenda slide, rename this layout to:</a:t>
            </a:r>
          </a:p>
          <a:p>
            <a:pPr lvl="1"/>
            <a:endParaRPr lang="da-DK" noProof="0"/>
          </a:p>
          <a:p>
            <a:pPr lvl="1"/>
            <a:r>
              <a:rPr lang="da-DK" noProof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da-DK" sz="1400" b="1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da-DK" sz="1400" b="1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da-DK" sz="1400" b="1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da-DK" sz="1400" b="1"/>
                <a:t>&lt;DURATION&gt;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B971D07-3ED0-4C9B-B2E7-F2EE33BB61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6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B829306-031B-49E6-9F57-C8A28E11099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3200" b="0" i="0" kern="1200">
                <a:solidFill>
                  <a:schemeClr val="bg2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401C8E-BD57-47A7-B577-E5E0B381EB5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7" y="0"/>
            <a:ext cx="12192404" cy="37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9565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2725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823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0043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32034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8922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30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052B845-416E-4536-B635-E0CC1FE222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noProof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B1D3A-2C96-4BD1-AA14-C130E6A4E80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04299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1527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71827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14746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04085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055516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2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1900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7244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2759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0FB801-DCBB-4E7A-9942-CC3928A00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28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0FB801-DCBB-4E7A-9942-CC3928A00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6953EA-4522-4DF5-9807-6FA3B9118F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4BADF3-E434-43C2-A412-DA9AC53FC6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9031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4E6AFBA-6F18-49CB-8EEC-662829BCE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5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4E6AFBA-6F18-49CB-8EEC-662829BCE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BFA15D-CED7-4CEF-8BB6-C96DE09EB8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62A27-9CA9-49AB-8C3E-818778AB77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0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762AD8-C5E8-481E-B10F-BE0146C055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14DC6-7A53-41F0-BEFC-2FBE04C8F6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5AFC6C-D8AF-410A-BF29-E343E87DD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5AFC6C-D8AF-410A-BF29-E343E87DD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51DB51-6CA7-40BF-809D-1016779306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/>
              <a:t>Click here to edit master format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da-DK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da-DK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066B0-74BC-4928-9349-14B29C9E5B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4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2BAB0B1-13E1-4AA0-B1A6-4AAF1807F1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Please click here to edit master format</a:t>
            </a:r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7B71C-273F-4682-A35A-FA48E30F57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14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9E7D82-46DC-4086-9F0A-67DB1826E6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Please click here to edit master form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C1F411-28ED-4AE8-B195-DD929865F3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285" y="6108268"/>
            <a:ext cx="1855418" cy="4515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44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0858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9CF022-08EA-4976-BA2A-BD83D8931C6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noProof="0"/>
              <a:t>Click here to edit master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/>
              <a:t>Please click here to edit master format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0">
                <a:solidFill>
                  <a:srgbClr val="3C3C3C"/>
                </a:solidFill>
              </a:rPr>
              <a:t>© Siemens Gamesa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b="0">
              <a:solidFill>
                <a:srgbClr val="3C3C3C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5"/>
    </p:custDataLst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59" r:id="rId4"/>
    <p:sldLayoutId id="2147483650" r:id="rId5"/>
    <p:sldLayoutId id="2147483656" r:id="rId6"/>
    <p:sldLayoutId id="2147483657" r:id="rId7"/>
    <p:sldLayoutId id="2147483651" r:id="rId8"/>
    <p:sldLayoutId id="2147483670" r:id="rId9"/>
    <p:sldLayoutId id="2147483660" r:id="rId10"/>
    <p:sldLayoutId id="2147483663" r:id="rId11"/>
    <p:sldLayoutId id="2147483677" r:id="rId12"/>
    <p:sldLayoutId id="2147483676" r:id="rId13"/>
    <p:sldLayoutId id="2147483662" r:id="rId14"/>
    <p:sldLayoutId id="2147483679" r:id="rId15"/>
    <p:sldLayoutId id="2147483678" r:id="rId16"/>
    <p:sldLayoutId id="2147483654" r:id="rId17"/>
    <p:sldLayoutId id="2147483655" r:id="rId18"/>
    <p:sldLayoutId id="2147483658" r:id="rId19"/>
    <p:sldLayoutId id="2147483673" r:id="rId20"/>
    <p:sldLayoutId id="2147483680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338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408" userDrawn="1">
          <p15:clr>
            <a:srgbClr val="F26B43"/>
          </p15:clr>
        </p15:guide>
        <p15:guide id="6" orient="horz" pos="2387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  <p15:guide id="8" pos="3761" userDrawn="1">
          <p15:clr>
            <a:srgbClr val="F26B43"/>
          </p15:clr>
        </p15:guide>
        <p15:guide id="9" pos="3942" userDrawn="1">
          <p15:clr>
            <a:srgbClr val="F26B43"/>
          </p15:clr>
        </p15:guide>
        <p15:guide id="10" pos="5669" userDrawn="1">
          <p15:clr>
            <a:srgbClr val="F26B43"/>
          </p15:clr>
        </p15:guide>
        <p15:guide id="11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622A98D-8829-4D42-A48E-27E18EF3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0089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622A98D-8829-4D42-A48E-27E18EF3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6736631-0652-493B-A2B7-4CDA373B88D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85CE2AB-F694-4F5C-9FA1-A5286C6B8F28}" type="datetimeFigureOut">
              <a:rPr lang="da-DK" smtClean="0"/>
              <a:t>19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EF733BC3-F35D-481C-99BF-82F2BFA3351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721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87.xml"/><Relationship Id="rId5" Type="http://schemas.openxmlformats.org/officeDocument/2006/relationships/image" Target="../media/image15.jpeg"/><Relationship Id="rId4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notesSlide" Target="../notesSlides/notesSlide7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" Type="http://schemas.openxmlformats.org/officeDocument/2006/relationships/slideLayout" Target="../slideLayouts/slideLayout5.xml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tags" Target="../tags/tag89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7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oleObject" Target="../embeddings/oleObject35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tags" Target="../tags/tag129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tags" Target="../tags/tag132.xml"/><Relationship Id="rId47" Type="http://schemas.openxmlformats.org/officeDocument/2006/relationships/tags" Target="../tags/tag137.xml"/><Relationship Id="rId50" Type="http://schemas.openxmlformats.org/officeDocument/2006/relationships/tags" Target="../tags/tag140.xml"/><Relationship Id="rId55" Type="http://schemas.openxmlformats.org/officeDocument/2006/relationships/tags" Target="../tags/tag145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9" Type="http://schemas.openxmlformats.org/officeDocument/2006/relationships/tags" Target="../tags/tag119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tags" Target="../tags/tag130.xml"/><Relationship Id="rId45" Type="http://schemas.openxmlformats.org/officeDocument/2006/relationships/tags" Target="../tags/tag135.xml"/><Relationship Id="rId53" Type="http://schemas.openxmlformats.org/officeDocument/2006/relationships/tags" Target="../tags/tag143.xml"/><Relationship Id="rId58" Type="http://schemas.openxmlformats.org/officeDocument/2006/relationships/oleObject" Target="../embeddings/oleObject37.bin"/><Relationship Id="rId5" Type="http://schemas.openxmlformats.org/officeDocument/2006/relationships/tags" Target="../tags/tag95.xml"/><Relationship Id="rId61" Type="http://schemas.openxmlformats.org/officeDocument/2006/relationships/chart" Target="../charts/chart2.xml"/><Relationship Id="rId19" Type="http://schemas.openxmlformats.org/officeDocument/2006/relationships/tags" Target="../tags/tag10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43" Type="http://schemas.openxmlformats.org/officeDocument/2006/relationships/tags" Target="../tags/tag133.xml"/><Relationship Id="rId48" Type="http://schemas.openxmlformats.org/officeDocument/2006/relationships/tags" Target="../tags/tag138.xml"/><Relationship Id="rId56" Type="http://schemas.openxmlformats.org/officeDocument/2006/relationships/slideLayout" Target="../slideLayouts/slideLayout6.xml"/><Relationship Id="rId8" Type="http://schemas.openxmlformats.org/officeDocument/2006/relationships/tags" Target="../tags/tag98.xml"/><Relationship Id="rId51" Type="http://schemas.openxmlformats.org/officeDocument/2006/relationships/tags" Target="../tags/tag141.xml"/><Relationship Id="rId3" Type="http://schemas.openxmlformats.org/officeDocument/2006/relationships/tags" Target="../tags/tag93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46" Type="http://schemas.openxmlformats.org/officeDocument/2006/relationships/tags" Target="../tags/tag136.xml"/><Relationship Id="rId59" Type="http://schemas.openxmlformats.org/officeDocument/2006/relationships/image" Target="../media/image7.emf"/><Relationship Id="rId20" Type="http://schemas.openxmlformats.org/officeDocument/2006/relationships/tags" Target="../tags/tag110.xml"/><Relationship Id="rId41" Type="http://schemas.openxmlformats.org/officeDocument/2006/relationships/tags" Target="../tags/tag131.xml"/><Relationship Id="rId54" Type="http://schemas.openxmlformats.org/officeDocument/2006/relationships/tags" Target="../tags/tag144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49" Type="http://schemas.openxmlformats.org/officeDocument/2006/relationships/tags" Target="../tags/tag139.xml"/><Relationship Id="rId57" Type="http://schemas.openxmlformats.org/officeDocument/2006/relationships/notesSlide" Target="../notesSlides/notesSlide9.xml"/><Relationship Id="rId10" Type="http://schemas.openxmlformats.org/officeDocument/2006/relationships/tags" Target="../tags/tag100.xml"/><Relationship Id="rId31" Type="http://schemas.openxmlformats.org/officeDocument/2006/relationships/tags" Target="../tags/tag121.xml"/><Relationship Id="rId44" Type="http://schemas.openxmlformats.org/officeDocument/2006/relationships/tags" Target="../tags/tag134.xml"/><Relationship Id="rId52" Type="http://schemas.openxmlformats.org/officeDocument/2006/relationships/tags" Target="../tags/tag142.xml"/><Relationship Id="rId60" Type="http://schemas.openxmlformats.org/officeDocument/2006/relationships/chart" Target="../charts/chart1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tags" Target="../tags/tag158.xml"/><Relationship Id="rId18" Type="http://schemas.openxmlformats.org/officeDocument/2006/relationships/chart" Target="../charts/chart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image" Target="../media/image7.emf"/><Relationship Id="rId2" Type="http://schemas.openxmlformats.org/officeDocument/2006/relationships/tags" Target="../tags/tag147.xml"/><Relationship Id="rId16" Type="http://schemas.openxmlformats.org/officeDocument/2006/relationships/oleObject" Target="../embeddings/oleObject38.bin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5" Type="http://schemas.openxmlformats.org/officeDocument/2006/relationships/tags" Target="../tags/tag150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3" Type="http://schemas.openxmlformats.org/officeDocument/2006/relationships/tags" Target="../tags/tag161.xml"/><Relationship Id="rId21" Type="http://schemas.openxmlformats.org/officeDocument/2006/relationships/oleObject" Target="../embeddings/oleObject39.bin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0" Type="http://schemas.openxmlformats.org/officeDocument/2006/relationships/notesSlide" Target="../notesSlides/notesSlide11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23" Type="http://schemas.openxmlformats.org/officeDocument/2006/relationships/chart" Target="../charts/chart4.xml"/><Relationship Id="rId10" Type="http://schemas.openxmlformats.org/officeDocument/2006/relationships/tags" Target="../tags/tag168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Relationship Id="rId22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8.xml"/><Relationship Id="rId4" Type="http://schemas.openxmlformats.org/officeDocument/2006/relationships/image" Target="../media/image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2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6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9.xml"/><Relationship Id="rId6" Type="http://schemas.openxmlformats.org/officeDocument/2006/relationships/image" Target="../media/image2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2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5.xml"/><Relationship Id="rId5" Type="http://schemas.openxmlformats.org/officeDocument/2006/relationships/image" Target="../media/image14.pn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6.xml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A0C46B-8E1E-4531-984C-2FDE96CE78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2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A0C46B-8E1E-4531-984C-2FDE96CE7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46BF5D5-8826-4AF5-8FEC-845192AF5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4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4988" y="3933645"/>
            <a:ext cx="8464550" cy="615553"/>
          </a:xfrm>
        </p:spPr>
        <p:txBody>
          <a:bodyPr vert="horz"/>
          <a:lstStyle/>
          <a:p>
            <a:r>
              <a:rPr lang="da-DK"/>
              <a:t>Generalforsamling</a:t>
            </a:r>
            <a:r>
              <a:rPr lang="da-DK" noProof="0"/>
              <a:t> 2023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a-DK" noProof="0"/>
              <a:t>Hotel </a:t>
            </a:r>
            <a:r>
              <a:rPr lang="da-DK" noProof="0" err="1"/>
              <a:t>Eyde</a:t>
            </a:r>
            <a:r>
              <a:rPr lang="da-DK" noProof="0"/>
              <a:t>, Herning, 23-02-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837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74" y="451934"/>
            <a:ext cx="5107214" cy="633154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1400" b="1" i="1">
                <a:latin typeface="Comic Sans MS"/>
              </a:rPr>
              <a:t>AFLYST </a:t>
            </a:r>
            <a:r>
              <a:rPr lang="en-US" sz="2000" b="1" i="1">
                <a:latin typeface="Comic Sans MS"/>
              </a:rPr>
              <a:t>                   23</a:t>
            </a:r>
            <a:br>
              <a:rPr lang="en-US" sz="2000" b="1" i="1">
                <a:latin typeface="Comic Sans MS"/>
              </a:rPr>
            </a:br>
            <a:r>
              <a:rPr lang="en-US" sz="1100" b="1" i="1">
                <a:latin typeface="Comic Sans MS"/>
              </a:rPr>
              <a:t>(ski, </a:t>
            </a:r>
            <a:r>
              <a:rPr lang="en-US" sz="1100" b="1" i="1" err="1">
                <a:latin typeface="Comic Sans MS"/>
              </a:rPr>
              <a:t>koncert</a:t>
            </a:r>
            <a:r>
              <a:rPr lang="en-US" sz="1100" b="1" i="1">
                <a:latin typeface="Comic Sans MS"/>
              </a:rPr>
              <a:t>, FOREDRAG, </a:t>
            </a:r>
            <a:r>
              <a:rPr lang="en-US" sz="1100" b="1" i="1" err="1">
                <a:latin typeface="Comic Sans MS"/>
              </a:rPr>
              <a:t>beton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jagt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ure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lego</a:t>
            </a:r>
            <a:r>
              <a:rPr lang="en-US" sz="1100" b="1" i="1">
                <a:latin typeface="Comic Sans MS"/>
              </a:rPr>
              <a:t> house, </a:t>
            </a:r>
            <a:r>
              <a:rPr lang="en-US" sz="1100" b="1" i="1" err="1">
                <a:latin typeface="Comic Sans MS"/>
              </a:rPr>
              <a:t>mtb</a:t>
            </a:r>
            <a:r>
              <a:rPr lang="en-US" sz="1100" b="1" i="1">
                <a:latin typeface="Comic Sans MS"/>
              </a:rPr>
              <a:t>, bio, </a:t>
            </a:r>
            <a:r>
              <a:rPr lang="en-US" sz="1100" b="1" i="1" err="1">
                <a:latin typeface="Comic Sans MS"/>
              </a:rPr>
              <a:t>spise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øl</a:t>
            </a:r>
            <a:r>
              <a:rPr lang="en-US" sz="1100" b="1" i="1">
                <a:latin typeface="Comic Sans MS"/>
              </a:rPr>
              <a:t>, yoga, baboon)</a:t>
            </a:r>
            <a:br>
              <a:rPr lang="en-US" sz="1100" b="1" i="1">
                <a:latin typeface="Comic Sans MS" panose="030F0702030302020204" pitchFamily="66" charset="0"/>
              </a:rPr>
            </a:br>
            <a:r>
              <a:rPr lang="en-US" sz="1400" b="1" i="1">
                <a:latin typeface="Comic Sans MS"/>
              </a:rPr>
              <a:t>Teater                          7</a:t>
            </a:r>
            <a:br>
              <a:rPr lang="en-US" sz="1400" b="1" i="1">
                <a:latin typeface="Comic Sans MS"/>
              </a:rPr>
            </a:br>
            <a:r>
              <a:rPr lang="en-US" sz="1400" b="1" i="1">
                <a:latin typeface="Comic Sans MS"/>
              </a:rPr>
              <a:t>vin </a:t>
            </a:r>
            <a:r>
              <a:rPr lang="en-US" sz="1400" b="1" i="1" err="1">
                <a:latin typeface="Comic Sans MS"/>
              </a:rPr>
              <a:t>smagning</a:t>
            </a:r>
            <a:r>
              <a:rPr lang="en-US" sz="1400" b="1" i="1">
                <a:latin typeface="Comic Sans MS"/>
              </a:rPr>
              <a:t>                4</a:t>
            </a:r>
            <a:br>
              <a:rPr lang="en-US" sz="1400" b="1" i="1">
                <a:latin typeface="Comic Sans MS" panose="030F0702030302020204" pitchFamily="66" charset="0"/>
              </a:rPr>
            </a:br>
            <a:r>
              <a:rPr lang="en-US" sz="1400" b="1" i="1" err="1">
                <a:latin typeface="Comic Sans MS"/>
              </a:rPr>
              <a:t>koncert</a:t>
            </a:r>
            <a:r>
              <a:rPr lang="en-US" sz="1400" b="1" i="1">
                <a:latin typeface="Comic Sans MS"/>
              </a:rPr>
              <a:t>                        9</a:t>
            </a:r>
            <a:br>
              <a:rPr lang="en-US" sz="1400" b="1" i="1">
                <a:latin typeface="Comic Sans MS" panose="030F0702030302020204" pitchFamily="66" charset="0"/>
              </a:rPr>
            </a:br>
            <a:r>
              <a:rPr lang="en-US" sz="1400" b="1" i="1">
                <a:latin typeface="Comic Sans MS"/>
              </a:rPr>
              <a:t>Golf                             6</a:t>
            </a:r>
            <a:br>
              <a:rPr lang="en-US" sz="1400" b="1" i="1">
                <a:latin typeface="Comic Sans MS"/>
              </a:rPr>
            </a:br>
            <a:r>
              <a:rPr lang="en-US" sz="1400" b="1" i="1">
                <a:latin typeface="Comic Sans MS"/>
              </a:rPr>
              <a:t>motion  </a:t>
            </a:r>
            <a:r>
              <a:rPr lang="en-US" sz="2000" b="1" i="1">
                <a:latin typeface="Comic Sans MS"/>
              </a:rPr>
              <a:t>                  7</a:t>
            </a:r>
            <a:br>
              <a:rPr lang="en-US" sz="2000" b="1" i="1">
                <a:latin typeface="Comic Sans MS"/>
              </a:rPr>
            </a:br>
            <a:r>
              <a:rPr lang="en-US" sz="1100" b="1" i="1">
                <a:latin typeface="Comic Sans MS"/>
              </a:rPr>
              <a:t>(yoga, </a:t>
            </a:r>
            <a:r>
              <a:rPr lang="en-US" sz="1100" b="1" i="1" err="1">
                <a:latin typeface="Comic Sans MS"/>
              </a:rPr>
              <a:t>fodbold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mtb</a:t>
            </a:r>
            <a:r>
              <a:rPr lang="en-US" sz="1100" b="1" i="1">
                <a:latin typeface="Comic Sans MS"/>
              </a:rPr>
              <a:t>, </a:t>
            </a:r>
            <a:r>
              <a:rPr lang="en-US" sz="1100" b="1" i="1" err="1">
                <a:latin typeface="Comic Sans MS"/>
              </a:rPr>
              <a:t>padel</a:t>
            </a:r>
            <a:r>
              <a:rPr lang="en-US" sz="1100" b="1" i="1">
                <a:latin typeface="Comic Sans MS"/>
              </a:rPr>
              <a:t> tennis, aqua </a:t>
            </a:r>
            <a:r>
              <a:rPr lang="en-US" sz="1100" b="1" i="1" err="1">
                <a:latin typeface="Comic Sans MS"/>
              </a:rPr>
              <a:t>o.s.v.</a:t>
            </a:r>
            <a:r>
              <a:rPr lang="en-US" sz="1100" b="1" i="1">
                <a:latin typeface="Comic Sans MS"/>
              </a:rPr>
              <a:t>)</a:t>
            </a:r>
            <a:br>
              <a:rPr lang="en-US"/>
            </a:br>
            <a:r>
              <a:rPr lang="en-US" sz="1600" b="1" i="1" err="1">
                <a:latin typeface="Comic Sans MS"/>
              </a:rPr>
              <a:t>spise</a:t>
            </a:r>
            <a:r>
              <a:rPr lang="en-US" sz="1600" b="1" i="1">
                <a:latin typeface="Comic Sans MS"/>
              </a:rPr>
              <a:t>                           8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foredrag</a:t>
            </a:r>
            <a:r>
              <a:rPr lang="en-US" sz="1600" b="1" i="1">
                <a:latin typeface="Comic Sans MS"/>
              </a:rPr>
              <a:t>                     12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kørekursus</a:t>
            </a:r>
            <a:r>
              <a:rPr lang="en-US" sz="1600" b="1" i="1">
                <a:latin typeface="Comic Sans MS"/>
              </a:rPr>
              <a:t>                   1</a:t>
            </a:r>
            <a:br>
              <a:rPr lang="en-US" sz="1600" b="1" i="1">
                <a:latin typeface="Comic Sans MS"/>
              </a:rPr>
            </a:br>
            <a:r>
              <a:rPr lang="en-US" sz="1600" b="1" i="1">
                <a:latin typeface="Comic Sans MS"/>
              </a:rPr>
              <a:t>bio                             5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jul</a:t>
            </a:r>
            <a:r>
              <a:rPr lang="en-US" sz="1600" b="1" i="1">
                <a:latin typeface="Comic Sans MS"/>
              </a:rPr>
              <a:t>                             2</a:t>
            </a:r>
            <a:br>
              <a:rPr lang="en-US" sz="1600" b="1" i="1">
                <a:latin typeface="Comic Sans MS"/>
              </a:rPr>
            </a:br>
            <a:r>
              <a:rPr lang="en-US" sz="1600" b="1" i="1">
                <a:latin typeface="Comic Sans MS"/>
              </a:rPr>
              <a:t>escape room                 1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tivoli</a:t>
            </a:r>
            <a:r>
              <a:rPr lang="en-US" sz="1600" b="1" i="1">
                <a:latin typeface="Comic Sans MS"/>
              </a:rPr>
              <a:t> / </a:t>
            </a:r>
            <a:r>
              <a:rPr lang="en-US" sz="1600" b="1" i="1" err="1">
                <a:latin typeface="Comic Sans MS"/>
              </a:rPr>
              <a:t>sommerland</a:t>
            </a:r>
            <a:r>
              <a:rPr lang="en-US" sz="1600" b="1" i="1">
                <a:latin typeface="Comic Sans MS"/>
              </a:rPr>
              <a:t>      2</a:t>
            </a:r>
            <a:br>
              <a:rPr lang="en-US" sz="1600"/>
            </a:br>
            <a:r>
              <a:rPr lang="en-US" sz="1600" b="1" i="1" err="1">
                <a:latin typeface="Comic Sans MS"/>
              </a:rPr>
              <a:t>keramikmaling</a:t>
            </a:r>
            <a:r>
              <a:rPr lang="en-US" sz="1600" b="1" i="1">
                <a:latin typeface="Comic Sans MS"/>
              </a:rPr>
              <a:t>              1</a:t>
            </a:r>
            <a:br>
              <a:rPr lang="en-US" sz="1600" b="1" i="1">
                <a:latin typeface="Comic Sans MS"/>
              </a:rPr>
            </a:br>
            <a:r>
              <a:rPr lang="en-US" sz="1600" b="1" i="1">
                <a:latin typeface="Comic Sans MS"/>
              </a:rPr>
              <a:t>spa / </a:t>
            </a:r>
            <a:r>
              <a:rPr lang="en-US" sz="1600" b="1" i="1" err="1">
                <a:latin typeface="Comic Sans MS"/>
              </a:rPr>
              <a:t>welness</a:t>
            </a:r>
            <a:r>
              <a:rPr lang="en-US" sz="1600" b="1" i="1">
                <a:latin typeface="Comic Sans MS"/>
              </a:rPr>
              <a:t>               5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blomster</a:t>
            </a:r>
            <a:r>
              <a:rPr lang="en-US" sz="1600" b="1" i="1">
                <a:latin typeface="Comic Sans MS"/>
              </a:rPr>
              <a:t>                     7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gokart</a:t>
            </a:r>
            <a:r>
              <a:rPr lang="en-US" sz="1600" b="1" i="1">
                <a:latin typeface="Comic Sans MS"/>
              </a:rPr>
              <a:t>                        2 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ZZov</a:t>
            </a:r>
            <a:r>
              <a:rPr lang="en-US" sz="1600" b="1" i="1">
                <a:latin typeface="Comic Sans MS"/>
              </a:rPr>
              <a:t> m </a:t>
            </a:r>
            <a:r>
              <a:rPr lang="en-US" sz="1600" b="1" i="1" err="1">
                <a:latin typeface="Comic Sans MS"/>
              </a:rPr>
              <a:t>hajer</a:t>
            </a:r>
            <a:r>
              <a:rPr lang="en-US" sz="1600" b="1" i="1">
                <a:latin typeface="Comic Sans MS"/>
              </a:rPr>
              <a:t>                1</a:t>
            </a:r>
            <a:br>
              <a:rPr lang="en-US" sz="1600" b="1" i="1">
                <a:latin typeface="Comic Sans MS"/>
              </a:rPr>
            </a:br>
            <a:r>
              <a:rPr lang="en-US" sz="1600" b="1" i="1">
                <a:latin typeface="Comic Sans MS"/>
              </a:rPr>
              <a:t>paintball                     1</a:t>
            </a:r>
            <a:br>
              <a:rPr lang="en-US" sz="1600" b="1" i="1">
                <a:latin typeface="Comic Sans MS"/>
              </a:rPr>
            </a:br>
            <a:r>
              <a:rPr lang="en-US" sz="1600" b="1" i="1" err="1">
                <a:latin typeface="Comic Sans MS"/>
              </a:rPr>
              <a:t>familiedage</a:t>
            </a:r>
            <a:r>
              <a:rPr lang="en-US" sz="1600" b="1" i="1">
                <a:latin typeface="Comic Sans MS"/>
              </a:rPr>
              <a:t>                  3</a:t>
            </a:r>
            <a:br>
              <a:rPr lang="en-US" sz="1600" b="1" i="1">
                <a:latin typeface="Comic Sans MS"/>
              </a:rPr>
            </a:br>
            <a:r>
              <a:rPr lang="en-US" sz="1000" b="1" i="1">
                <a:latin typeface="Comic Sans MS"/>
              </a:rPr>
              <a:t>(</a:t>
            </a:r>
            <a:r>
              <a:rPr lang="en-US" sz="1000" b="1" i="1" err="1">
                <a:latin typeface="Comic Sans MS"/>
              </a:rPr>
              <a:t>vindmølle</a:t>
            </a:r>
            <a:r>
              <a:rPr lang="en-US" sz="1000" b="1" i="1">
                <a:latin typeface="Comic Sans MS"/>
              </a:rPr>
              <a:t> safari / </a:t>
            </a:r>
            <a:r>
              <a:rPr lang="en-US" sz="1000" b="1" i="1" err="1">
                <a:latin typeface="Comic Sans MS"/>
              </a:rPr>
              <a:t>naturkraft</a:t>
            </a:r>
            <a:r>
              <a:rPr lang="en-US" sz="1000" b="1" i="1">
                <a:latin typeface="Comic Sans MS"/>
              </a:rPr>
              <a:t>)</a:t>
            </a:r>
            <a:br>
              <a:rPr lang="en-US" sz="2000" b="1" i="1">
                <a:latin typeface="Comic Sans MS"/>
              </a:rPr>
            </a:br>
            <a:r>
              <a:rPr lang="en-US" sz="1400" b="1" i="1">
                <a:latin typeface="Comic Sans MS"/>
              </a:rPr>
              <a:t>ladies night                   1</a:t>
            </a:r>
            <a:br>
              <a:rPr lang="en-US" sz="2000" b="1" i="1">
                <a:latin typeface="Comic Sans MS"/>
              </a:rPr>
            </a:br>
            <a:r>
              <a:rPr lang="en-US" sz="1400" b="1" i="1" err="1">
                <a:latin typeface="Comic Sans MS"/>
              </a:rPr>
              <a:t>cirkus</a:t>
            </a:r>
            <a:r>
              <a:rPr lang="en-US" sz="1400" b="1" i="1">
                <a:latin typeface="Comic Sans MS"/>
              </a:rPr>
              <a:t>                            1</a:t>
            </a:r>
            <a:r>
              <a:rPr lang="en-US" sz="2000" b="1" i="1">
                <a:latin typeface="Comic Sans MS"/>
              </a:rPr>
              <a:t> </a:t>
            </a:r>
            <a:br>
              <a:rPr lang="en-US" sz="4800" b="1" i="1">
                <a:latin typeface="Comic Sans MS" panose="030F0702030302020204" pitchFamily="66" charset="0"/>
              </a:rPr>
            </a:br>
            <a:r>
              <a:rPr lang="en-US" sz="1400" b="1" i="1" err="1">
                <a:latin typeface="Comic Sans MS"/>
              </a:rPr>
              <a:t>skitur</a:t>
            </a:r>
            <a:r>
              <a:rPr lang="en-US" sz="1400" b="1" i="1">
                <a:latin typeface="Comic Sans MS"/>
              </a:rPr>
              <a:t>                            1</a:t>
            </a:r>
            <a:endParaRPr lang="en-US" sz="2000" b="1" i="1">
              <a:latin typeface="Comic Sans MS" panose="030F0702030302020204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6D3795-4130-41B5-A393-34B028EEB716}"/>
              </a:ext>
            </a:extLst>
          </p:cNvPr>
          <p:cNvSpPr txBox="1"/>
          <p:nvPr/>
        </p:nvSpPr>
        <p:spPr>
          <a:xfrm>
            <a:off x="6042349" y="1753854"/>
            <a:ext cx="5813228" cy="4462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i="1">
                <a:latin typeface="Comic Sans MS"/>
              </a:rPr>
              <a:t>HERNING                                               29</a:t>
            </a:r>
          </a:p>
          <a:p>
            <a:pPr>
              <a:defRPr/>
            </a:pPr>
            <a:r>
              <a:rPr lang="en-US" i="1">
                <a:latin typeface="Comic Sans MS"/>
              </a:rPr>
              <a:t>BRANDE                                                 11</a:t>
            </a:r>
          </a:p>
          <a:p>
            <a:pPr>
              <a:defRPr/>
            </a:pPr>
            <a:r>
              <a:rPr lang="en-US" i="1">
                <a:latin typeface="Comic Sans MS"/>
              </a:rPr>
              <a:t>VEJLE                                                     7                ÅRHUS                                                   10</a:t>
            </a:r>
          </a:p>
          <a:p>
            <a:pPr>
              <a:defRPr/>
            </a:pPr>
            <a:r>
              <a:rPr lang="en-US" i="1">
                <a:latin typeface="Comic Sans MS"/>
              </a:rPr>
              <a:t>SILKEBORG                                           4</a:t>
            </a:r>
          </a:p>
          <a:p>
            <a:pPr>
              <a:defRPr/>
            </a:pPr>
            <a:r>
              <a:rPr lang="en-US" i="1">
                <a:latin typeface="Comic Sans MS"/>
              </a:rPr>
              <a:t>VANDEL                                                 2</a:t>
            </a:r>
          </a:p>
          <a:p>
            <a:pPr>
              <a:defRPr/>
            </a:pPr>
            <a:r>
              <a:rPr lang="en-US" i="1">
                <a:latin typeface="Comic Sans MS"/>
              </a:rPr>
              <a:t>HORSENS                                             2</a:t>
            </a:r>
          </a:p>
          <a:p>
            <a:pPr>
              <a:defRPr/>
            </a:pPr>
            <a:r>
              <a:rPr lang="en-US" i="1">
                <a:latin typeface="Comic Sans MS"/>
              </a:rPr>
              <a:t>RINGKØBING                                       2                 </a:t>
            </a:r>
          </a:p>
          <a:p>
            <a:pPr>
              <a:defRPr/>
            </a:pPr>
            <a:r>
              <a:rPr lang="en-US" i="1">
                <a:latin typeface="Comic Sans MS"/>
              </a:rPr>
              <a:t>THISTED                                             3</a:t>
            </a:r>
          </a:p>
          <a:p>
            <a:pPr>
              <a:defRPr/>
            </a:pPr>
            <a:r>
              <a:rPr lang="en-US" i="1">
                <a:latin typeface="Comic Sans MS"/>
              </a:rPr>
              <a:t>NR. SNEDE                                          7</a:t>
            </a:r>
          </a:p>
          <a:p>
            <a:pPr>
              <a:defRPr/>
            </a:pPr>
            <a:endParaRPr lang="en-US" i="1">
              <a:latin typeface="Comic Sans MS"/>
            </a:endParaRPr>
          </a:p>
          <a:p>
            <a:pPr>
              <a:defRPr/>
            </a:pPr>
            <a:r>
              <a:rPr lang="en-US" i="1">
                <a:latin typeface="Comic Sans MS"/>
              </a:rPr>
              <a:t>VILDBJERG – BILLUND – BLOKHUS – ULFBORG -</a:t>
            </a:r>
          </a:p>
          <a:p>
            <a:pPr>
              <a:defRPr/>
            </a:pPr>
            <a:r>
              <a:rPr lang="en-US" i="1">
                <a:latin typeface="Comic Sans MS"/>
              </a:rPr>
              <a:t>KOLDING – BRABRAND - HØJER - EJSTRUP - BØRKOP - SNEJBJERG - GRENÅ - KERTEMINDE - ØSTRIG </a:t>
            </a:r>
          </a:p>
          <a:p>
            <a:pPr>
              <a:defRPr/>
            </a:pPr>
            <a:endParaRPr lang="en-US" sz="1400" i="1">
              <a:latin typeface="Comic Sans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2343C-9C62-4AA8-B902-AF5FAB3535C4}"/>
              </a:ext>
            </a:extLst>
          </p:cNvPr>
          <p:cNvSpPr txBox="1"/>
          <p:nvPr/>
        </p:nvSpPr>
        <p:spPr>
          <a:xfrm>
            <a:off x="358775" y="144939"/>
            <a:ext cx="3722914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i="1">
                <a:latin typeface="Comic Sans MS"/>
              </a:rPr>
              <a:t>EVENT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A36868-9D2A-4955-94AD-09DBFA073DCB}"/>
              </a:ext>
            </a:extLst>
          </p:cNvPr>
          <p:cNvSpPr txBox="1"/>
          <p:nvPr/>
        </p:nvSpPr>
        <p:spPr>
          <a:xfrm>
            <a:off x="6094185" y="142014"/>
            <a:ext cx="5872842" cy="11387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2000" i="1">
              <a:latin typeface="Comic Sans MS"/>
            </a:endParaRPr>
          </a:p>
          <a:p>
            <a:pPr algn="ctr"/>
            <a:r>
              <a:rPr lang="en-US" sz="2800" i="1">
                <a:latin typeface="Comic Sans MS"/>
              </a:rPr>
              <a:t>BYER</a:t>
            </a:r>
            <a:endParaRPr lang="en-US" sz="2800"/>
          </a:p>
          <a:p>
            <a:pPr algn="ctr"/>
            <a:endParaRPr lang="en-US" sz="2000" i="1"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1211001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8B1A92-B522-4847-B140-023511DF4E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8B1A92-B522-4847-B140-023511DF4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5C196-241B-4EAD-AC23-21A7D67134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01645" y="4774580"/>
            <a:ext cx="4150894" cy="1470722"/>
          </a:xfrm>
        </p:spPr>
        <p:txBody>
          <a:bodyPr>
            <a:normAutofit/>
          </a:bodyPr>
          <a:lstStyle/>
          <a:p>
            <a:r>
              <a:rPr lang="da-DK" b="1" i="1">
                <a:solidFill>
                  <a:schemeClr val="tx1"/>
                </a:solidFill>
                <a:latin typeface="Comic Sans MS"/>
              </a:rPr>
              <a:t>EN FANTASTISK, FESTLIG, FORRYGENDE AFTEN MED JULEFROKOST OG COMEDY...</a:t>
            </a:r>
            <a:endParaRPr lang="en-US">
              <a:solidFill>
                <a:schemeClr val="tx1"/>
              </a:solidFill>
            </a:endParaRPr>
          </a:p>
          <a:p>
            <a:endParaRPr lang="da-DK" b="1" i="1">
              <a:solidFill>
                <a:schemeClr val="tx1"/>
              </a:solidFill>
              <a:latin typeface="Comic Sans M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23552A-D562-47F1-AF5B-5812FC285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9557" y="684798"/>
            <a:ext cx="6263210" cy="1750671"/>
          </a:xfrm>
        </p:spPr>
        <p:txBody>
          <a:bodyPr vert="horz"/>
          <a:lstStyle/>
          <a:p>
            <a:pPr algn="ctr"/>
            <a:r>
              <a:rPr lang="da-DK" b="1" i="1" err="1">
                <a:latin typeface="Comic Sans MS"/>
              </a:rPr>
              <a:t>EVENTMAKERaften</a:t>
            </a:r>
            <a:r>
              <a:rPr lang="da-DK" b="1" i="1">
                <a:latin typeface="Comic Sans MS"/>
              </a:rPr>
              <a:t> </a:t>
            </a:r>
            <a:endParaRPr lang="da-DK" b="1" i="1">
              <a:latin typeface="Comic Sans MS" panose="030F0702030302020204" pitchFamily="66" charset="0"/>
            </a:endParaRPr>
          </a:p>
        </p:txBody>
      </p:sp>
      <p:pic>
        <p:nvPicPr>
          <p:cNvPr id="4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1BAB011A-9B79-C8B5-B019-62DB628348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9579" y="1845178"/>
            <a:ext cx="3525252" cy="19773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5258F93-90BD-7A53-F30D-9D970C551846}"/>
              </a:ext>
            </a:extLst>
          </p:cNvPr>
          <p:cNvSpPr txBox="1"/>
          <p:nvPr/>
        </p:nvSpPr>
        <p:spPr>
          <a:xfrm>
            <a:off x="431132" y="1500418"/>
            <a:ext cx="5364078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i="1">
                <a:latin typeface="Comic Sans MS"/>
              </a:rPr>
              <a:t>ÅRETS EVENTMAK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D89707-4C20-3063-8BEC-10F8F0237226}"/>
              </a:ext>
            </a:extLst>
          </p:cNvPr>
          <p:cNvSpPr txBox="1"/>
          <p:nvPr/>
        </p:nvSpPr>
        <p:spPr>
          <a:xfrm>
            <a:off x="431131" y="2516605"/>
            <a:ext cx="657111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i="1">
                <a:latin typeface="Comic Sans MS"/>
              </a:rPr>
              <a:t>FLEST EVENTS :</a:t>
            </a:r>
          </a:p>
          <a:p>
            <a:r>
              <a:rPr lang="en-US" sz="3200" i="1">
                <a:latin typeface="Comic Sans MS"/>
              </a:rPr>
              <a:t>BIRGITTE SØBY     11 EV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46F6AB-0F29-187F-66DF-62FA4C326F02}"/>
              </a:ext>
            </a:extLst>
          </p:cNvPr>
          <p:cNvSpPr txBox="1"/>
          <p:nvPr/>
        </p:nvSpPr>
        <p:spPr>
          <a:xfrm>
            <a:off x="621631" y="4281237"/>
            <a:ext cx="6166184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i="1">
                <a:latin typeface="Comic Sans MS"/>
              </a:rPr>
              <a:t>FLEST GÆSTER :</a:t>
            </a:r>
          </a:p>
          <a:p>
            <a:r>
              <a:rPr lang="en-US" sz="3200" i="1">
                <a:latin typeface="Comic Sans MS"/>
              </a:rPr>
              <a:t>BIRGITTE SØBY     262</a:t>
            </a:r>
          </a:p>
          <a:p>
            <a:r>
              <a:rPr lang="en-US" sz="3200" i="1">
                <a:latin typeface="Comic Sans MS"/>
              </a:rPr>
              <a:t>BERIT FRIIS HANSEN   213</a:t>
            </a:r>
          </a:p>
        </p:txBody>
      </p:sp>
    </p:spTree>
    <p:extLst>
      <p:ext uri="{BB962C8B-B14F-4D97-AF65-F5344CB8AC3E}">
        <p14:creationId xmlns:p14="http://schemas.microsoft.com/office/powerpoint/2010/main" val="35260569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3">
            <a:extLst>
              <a:ext uri="{FF2B5EF4-FFF2-40B4-BE49-F238E27FC236}">
                <a16:creationId xmlns:a16="http://schemas.microsoft.com/office/drawing/2014/main" id="{6CC7770B-E4E1-42D6-9437-DAA4A3A9E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A26DE5B-A1A6-4746-8EF7-4D6809ED75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7A3DDA-BF17-4302-867E-EBFD777B0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BE30704-4227-4B7B-BDB8-BFCF39086F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23B1E7-AEA4-42D8-8F4A-9D116F29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21B6244-6EAE-442C-ACCF-8146103EC1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22" name="Rectangle 30">
            <a:extLst>
              <a:ext uri="{FF2B5EF4-FFF2-40B4-BE49-F238E27FC236}">
                <a16:creationId xmlns:a16="http://schemas.microsoft.com/office/drawing/2014/main" id="{781BBDC9-2DC6-4959-AC3D-49A5DCB05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B4378-C95C-45D7-942D-D6F00751661C}"/>
              </a:ext>
            </a:extLst>
          </p:cNvPr>
          <p:cNvSpPr txBox="1"/>
          <p:nvPr/>
        </p:nvSpPr>
        <p:spPr>
          <a:xfrm>
            <a:off x="684212" y="685800"/>
            <a:ext cx="4754563" cy="57447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FÅ EN GOD IDE TIL ET EVENT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LEVERANDØR OG LAV EN AFTALE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KONTAKT EVT. MØLLEBANDEN FOR GODE RÅD, TIPS OG TRICKS...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LAV EN ANSØGNING PÅ HJEMMESIDEN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NÅR EVENT ER GODKENDT, LAVER DU EN FLOT BESKRIVELSE AF EVENT MED BILLEDER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VED DEADLINE FOR TILMELDING : KONTAKT LEVERANDØR MED ENDELIGT ANTAL.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TRÆK EN DELTAGERLISTE OG PAK BILLETTER TIL UDLEVERING.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>
                <a:latin typeface="Century Gothic" panose="020B0502020202020204"/>
              </a:rPr>
              <a:t>SEND INFO-MAIL TIL ALLE DELTAGERE 2-7 DAGE FØR EVENT.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MØD OP – DEL UD – OG NYD DIT EVENT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FFFFFF"/>
              </a:buClr>
              <a:buSzPct val="80000"/>
              <a:buFont typeface="Wingdings 3" panose="05040102010807070707" pitchFamily="18" charset="2"/>
              <a:buChar char=""/>
              <a:defRPr/>
            </a:pPr>
            <a:r>
              <a:rPr lang="en-US"/>
              <a:t>SEND REGNINGEN TIL MØLLEBANDE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prstClr val="white"/>
              </a:buClr>
              <a:buSzPct val="80000"/>
              <a:buFont typeface="Wingdings 3" panose="05040102010807070707" pitchFamily="18" charset="2"/>
              <a:buChar char="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Rectangle 32">
            <a:extLst>
              <a:ext uri="{FF2B5EF4-FFF2-40B4-BE49-F238E27FC236}">
                <a16:creationId xmlns:a16="http://schemas.microsoft.com/office/drawing/2014/main" id="{08452CCF-4A27-488A-AAF4-424933CFC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5999" y="0"/>
            <a:ext cx="4657345" cy="685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235177-43FE-4983-8553-D9E96F2A891D}"/>
              </a:ext>
            </a:extLst>
          </p:cNvPr>
          <p:cNvSpPr txBox="1"/>
          <p:nvPr/>
        </p:nvSpPr>
        <p:spPr>
          <a:xfrm>
            <a:off x="6662057" y="685800"/>
            <a:ext cx="3592286" cy="530859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200" b="1" i="1" cap="all">
                <a:ln w="3175" cmpd="sng">
                  <a:noFill/>
                </a:ln>
                <a:latin typeface="Century Gothic" panose="020B0502020202020204"/>
              </a:rPr>
              <a:t>GÅR DU MED EN LILLE EVENTMAKER I MAVEN....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B74BB55-8517-4CFE-9389-81D0E6F81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53344" y="0"/>
            <a:ext cx="1438656" cy="6858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A50E82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3190CD-45FC-4DE0-B596-17D4DE53E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69288" y="3770390"/>
            <a:ext cx="1419541" cy="1660354"/>
            <a:chOff x="10292292" y="2963333"/>
            <a:chExt cx="1896535" cy="221826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BD4334C-2554-4361-8CFF-394E624CF4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FC3CBA7-AF68-4075-BAC7-623C34B4F4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190344"/>
              <a:ext cx="1896535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A6C7307-1C78-4C8A-BF3D-FA420F177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4CD1F94-6C7C-4E8F-9336-E312E9F5C7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B11C2A-D791-46E1-B954-1184FB080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rgbClr val="FFFFF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74883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 b="1"/>
              <a:t>Hjemmeside status – Tabea Schadwinkel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63582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85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55BA7B25-A22D-4660-B04C-51FB5A552DC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0258265"/>
              </p:ext>
            </p:extLst>
          </p:nvPr>
        </p:nvGraphicFramePr>
        <p:xfrm>
          <a:off x="538164" y="1637413"/>
          <a:ext cx="4289018" cy="42395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b="1"/>
              <a:t>Hjemmeside status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4</a:t>
            </a:fld>
            <a:endParaRPr lang="da-DK"/>
          </a:p>
        </p:txBody>
      </p:sp>
      <p:graphicFrame>
        <p:nvGraphicFramePr>
          <p:cNvPr id="12" name="Content Placeholder 10">
            <a:extLst>
              <a:ext uri="{FF2B5EF4-FFF2-40B4-BE49-F238E27FC236}">
                <a16:creationId xmlns:a16="http://schemas.microsoft.com/office/drawing/2014/main" id="{B26726C8-E630-4CBE-B1D3-9F84DCA430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2451044"/>
              </p:ext>
            </p:extLst>
          </p:nvPr>
        </p:nvGraphicFramePr>
        <p:xfrm>
          <a:off x="4199308" y="1637412"/>
          <a:ext cx="4289018" cy="42418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52C7564-BF1F-4D46-B759-0D248B6DB514}"/>
              </a:ext>
            </a:extLst>
          </p:cNvPr>
          <p:cNvSpPr txBox="1"/>
          <p:nvPr/>
        </p:nvSpPr>
        <p:spPr>
          <a:xfrm>
            <a:off x="1701209" y="1193425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202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C5D5D2-4C84-4A0E-8877-03BE9DDE9E6C}"/>
              </a:ext>
            </a:extLst>
          </p:cNvPr>
          <p:cNvSpPr txBox="1"/>
          <p:nvPr/>
        </p:nvSpPr>
        <p:spPr>
          <a:xfrm>
            <a:off x="5398373" y="12318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2022</a:t>
            </a:r>
          </a:p>
        </p:txBody>
      </p:sp>
      <p:graphicFrame>
        <p:nvGraphicFramePr>
          <p:cNvPr id="15" name="Content Placeholder 10">
            <a:extLst>
              <a:ext uri="{FF2B5EF4-FFF2-40B4-BE49-F238E27FC236}">
                <a16:creationId xmlns:a16="http://schemas.microsoft.com/office/drawing/2014/main" id="{766C85FF-4511-472E-A0FD-92584A4137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5876314"/>
              </p:ext>
            </p:extLst>
          </p:nvPr>
        </p:nvGraphicFramePr>
        <p:xfrm>
          <a:off x="8358347" y="1637411"/>
          <a:ext cx="3203542" cy="26794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FCE442CA-2F84-41E1-913B-00044C11182D}"/>
              </a:ext>
            </a:extLst>
          </p:cNvPr>
          <p:cNvSpPr txBox="1"/>
          <p:nvPr/>
        </p:nvSpPr>
        <p:spPr>
          <a:xfrm>
            <a:off x="9025784" y="12318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047106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P spid="14" grpId="0"/>
      <p:bldGraphic spid="15" grpId="0">
        <p:bldAsOne/>
      </p:bldGraphic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Regnskab &amp; Budget – Taus Wind-Lars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0191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311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216" imgH="216" progId="TCLayout.ActiveDocument.1">
                  <p:embed/>
                </p:oleObj>
              </mc:Choice>
              <mc:Fallback>
                <p:oleObj name="think-cell Slide" r:id="rId58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297" y="1142213"/>
            <a:ext cx="4997897" cy="418301"/>
          </a:xfrm>
        </p:spPr>
        <p:txBody>
          <a:bodyPr/>
          <a:lstStyle/>
          <a:p>
            <a:r>
              <a:rPr lang="da-DK"/>
              <a:t>Budget 2022 vs. Faktiske 2022 / </a:t>
            </a:r>
            <a:r>
              <a:rPr lang="da-DK" err="1"/>
              <a:t>kDKK</a:t>
            </a:r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6</a:t>
            </a:fld>
            <a:endParaRPr lang="da-DK"/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7E5EDDFB-75F8-43A5-A3CA-1666CC9D958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7011473"/>
              </p:ext>
            </p:extLst>
          </p:nvPr>
        </p:nvGraphicFramePr>
        <p:xfrm>
          <a:off x="1849438" y="1608138"/>
          <a:ext cx="7800975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9F075E6E-6E8D-4B51-AAAA-86999184EDF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939213" y="1924050"/>
            <a:ext cx="300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7991103A-DD98-4403-B489-01103FE1388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8450263" y="2184400"/>
            <a:ext cx="788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18554E66-610B-4EAC-BAC0-72582685382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239250" y="1924050"/>
            <a:ext cx="0" cy="260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B25351B5-8410-40B6-B414-5961AE306F1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605963" y="2651125"/>
            <a:ext cx="300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B5BF759-88E6-494E-9C37-4A5BEB71FC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906000" y="2651125"/>
            <a:ext cx="0" cy="258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C7C0889-1527-4617-AFEC-E1B7B3BDA35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9242425" y="2909888"/>
            <a:ext cx="663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BBAD4-56C8-4FCA-8C7D-82703B0EE0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4725" y="1947863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F8875A-C79E-4A13-955E-EDE30832BB67}" type="datetime'''''''''I''n''''''d''t''''''''''''æ''gt''''''''''''''''''e''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Indtægter</a:t>
            </a:fld>
            <a:endParaRPr lang="en-US" sz="140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D0E781-6390-4B97-8D9C-FE343E77ABE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12838" y="2673350"/>
            <a:ext cx="620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28AE0B-EAEC-4B18-8915-68FB5F34C1A8}" type="datetime'''''''''''''''''''''''''''''''''''U''''dg''''if''''t''''er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Udgifter</a:t>
            </a:fld>
            <a:endParaRPr lang="en-US" sz="140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12BC62-A0B1-49CB-90F6-A40A22FA506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82675" y="3400425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F3E5C-BE44-4D66-A3DD-432BFE298BE6}" type="datetime'''''''''''''''Re''''''''''''s''''''u''''''''''lt''''a''t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Resultat</a:t>
            </a:fld>
            <a:endParaRPr lang="en-US" sz="1400">
              <a:sym typeface="+mn-lt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57F94C1C-B279-482E-81AE-EFDD3558C11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015413" y="1903413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B5FB20-C511-49C7-8F60-E3B5429C13EB}" type="datetime'''''''-''''''''''8''''''''''''''''''''''''''%'''''''''">
              <a:rPr lang="en-US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8%</a:t>
            </a:fld>
            <a:endParaRPr lang="en-US" sz="1400" b="1"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6FB31CF-AD53-433E-B0C9-F3438737437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82163" y="2628900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3DDB11-5C08-4771-A2C1-C60B6331A8B0}" type="datetime'''''''''''''''''''''-''6''''''''''''''''''%'''''''">
              <a:rPr lang="en-US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6%</a:t>
            </a:fld>
            <a:endParaRPr lang="en-US" sz="1400" b="1"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D4CA74-0128-4EAA-852F-032BEBB475C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683125" y="11811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5816CD-EA28-4CC9-85AE-CDDF685501C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091238" y="11811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3F8FE-1ECB-4292-8C42-EE6EB0F9119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84750" y="1176338"/>
            <a:ext cx="1004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/>
              <a:t>Budget 2022</a:t>
            </a:r>
            <a:endParaRPr lang="en-US" sz="140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570FEC-9B18-4156-AC8E-5A2BCB7D44B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92863" y="1176338"/>
            <a:ext cx="1438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err="1">
                <a:sym typeface="+mn-lt"/>
              </a:rPr>
              <a:t>Årsregnskab</a:t>
            </a:r>
            <a:r>
              <a:rPr lang="en-US" sz="1400">
                <a:sym typeface="+mn-lt"/>
              </a:rPr>
              <a:t> 2022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1EAAA6DE-549A-43DB-9E69-90DA82A4BD49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82446516"/>
              </p:ext>
            </p:extLst>
          </p:nvPr>
        </p:nvGraphicFramePr>
        <p:xfrm>
          <a:off x="1077913" y="4449763"/>
          <a:ext cx="9710737" cy="1382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AACAA03-17E9-4333-B082-25BD892BF55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757363" y="4783138"/>
            <a:ext cx="11541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0088F8-1355-483F-81FB-86363711534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1757363" y="4783138"/>
            <a:ext cx="0" cy="465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3A409E1-EDDF-45CB-A701-858D39DE881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911475" y="47831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3DA4C67-AD05-421F-B06F-8E62E478BC30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987675" y="4537075"/>
            <a:ext cx="1117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B4B73418-303A-4AE9-B9CE-FBC3397F41D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105275" y="45370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4EEDD36-FC12-48A2-AC02-8761721A25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2987675" y="4537075"/>
            <a:ext cx="0" cy="398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596748-7381-4E43-AF2E-DBE5B3C7A6B1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V="1">
            <a:off x="4181475" y="4281488"/>
            <a:ext cx="0" cy="40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6BEE14-6D32-4AF7-9A10-F57017B7CD1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181475" y="4281488"/>
            <a:ext cx="1117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FA06BA3-C521-419C-99C9-FD10F87FB5B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299075" y="42814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2FAB806-EB20-436C-87B5-28D8EF7EB17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5375275" y="43576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0E6E158-6032-4451-97DA-CF98B60F71A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375275" y="4357688"/>
            <a:ext cx="1116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0F96AC7-3607-4781-81A8-8779530E598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491288" y="4357688"/>
            <a:ext cx="0" cy="369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D3F2CFE-F938-47E6-BA20-1D1729AA42A5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auto">
          <a:xfrm flipV="1">
            <a:off x="6567488" y="4386263"/>
            <a:ext cx="0" cy="341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383A03B-4EFE-4722-A291-8E5A4377589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567488" y="4386263"/>
            <a:ext cx="1117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1268D81-9C64-47EA-AAFD-6DC41003206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7685088" y="43862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6A1E996-40EC-4BD6-9829-2557FA5A9038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761288" y="4462463"/>
            <a:ext cx="1116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541F855-06A9-4E08-9DEF-743786F8BF1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7761288" y="44624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90D833C-7ADA-47A3-B56E-4239395CEC8A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8877300" y="4462463"/>
            <a:ext cx="0" cy="315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C4CFDB7-5CEE-4E51-9FE9-56A5912483F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V="1">
            <a:off x="8953500" y="470217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3C0D745-91DE-4C28-B8C4-8DC9828B19FB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>
            <a:off x="8953500" y="4702175"/>
            <a:ext cx="11557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40267CD-CDAF-4FD4-8F97-72D7A50BB3D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0109200" y="4702175"/>
            <a:ext cx="0" cy="2174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DED8F48-E301-40CC-B3D7-3B4E9873C32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906000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51D7EA-BB00-442B-88BB-18BE9640CF62}" type="datetime'''''''''''2''''''''''''02''''''''2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B274231-245E-4D9D-8773-1D303A34E3E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46375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A07D8-996B-4F90-8FBA-8D66B60042FE}" type="datetime'''''''''''''2''''''0''''''''''''''''1''''''6''''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EF31358-F416-4A32-BDE8-98C80AE1C73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554163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CB0A56-F927-499B-86A0-6584E405A022}" type="datetime'2''''''''''''''''''''''''''0''1''5'">
              <a:rPr lang="en-GB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36E48D-338F-4097-91D0-556E6C4703D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326188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7DEFC4-A2CF-4045-BCA0-9372B3DD2183}" type="datetime'''''''''''''''''20''''''''''''''''''''''''''''1''''''''''9'''">
              <a:rPr lang="en-US" altLang="en-US" sz="14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38F6196-5CCB-4E07-AA43-C8C585FBCBB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940175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3ADA68-17BE-40BD-9B01-771E0FB00164}" type="datetime'''''''''''''''''''''''''''''''''''''''''2''''''0''1''7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E9474F6-EC0B-425B-9EA6-75051CF8641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712200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C871-3FDA-46BE-9290-5229617C681E}" type="datetime'''''''''2''''''''''''''''''''''''''''''''0''2''1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7921388-F291-4C27-B766-406BC5C6EBE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519988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0A82E-D8E5-4668-9B21-CF5DF5B973AC}" type="datetime'''''2''''''''''''''''''''''''''0''''''''''''''''''20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B13EB1-D281-4AF1-8648-E1ACD6E531F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133975" y="5808663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0F3DD9-7A1A-4FF3-9124-988E5DFBA497}" type="datetime'''''''''''''''''2''0''''1''''''8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A154379-494E-4734-89D2-5992D0D34B5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052638" y="4632325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30F74C-44DE-4366-AC09-9901CDE64757}" type="datetime'''''''''+''''''''''''''4''''''''''''''''8''''''''5''''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485</a:t>
            </a:fld>
            <a:endParaRPr lang="en-GB" sz="1400" b="1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AAE0FCC-5711-4B2D-8099-067EC412D0D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265488" y="4386263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FF2CB4-04EF-4E51-8FBF-6688DCEF360A}" type="datetime'''''''+''''''''''''38''''''''''''''''''0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380</a:t>
            </a:fld>
            <a:endParaRPr lang="en-GB" sz="1400" b="1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F39639F-8A2D-4155-A41C-F52BA14DDC4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59288" y="4130675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60135C-CBED-4789-9C7F-AA2675A2D6D2}" type="datetime'+''''''3''''''''9''''''''''4''''''''''''''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394</a:t>
            </a:fld>
            <a:endParaRPr lang="en-GB" sz="1400" b="1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E6101ED-100D-4B6A-8DA2-F3321B81720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681663" y="4206875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6C1A5F-BBAB-496E-9489-2B86E44CE979}" type="datetime'-''''''''''''4''''''''''''''''5''''''''''''''''''''''3'''">
              <a:rPr lang="en-GB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-453</a:t>
            </a:fld>
            <a:endParaRPr lang="en-GB" sz="1400" b="1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6FF8EF2-A5BE-4D68-8588-5B5299C52F1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45300" y="4235450"/>
            <a:ext cx="5635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37341D-1A03-4481-B19A-56FCF805DE0E}" type="datetime'''+2''''''''''''''''''''''''''''''''''''9''''''1'''''''''''''">
              <a:rPr lang="en-US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291</a:t>
            </a:fld>
            <a:endParaRPr lang="en-US" sz="1400" b="1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0A9CA739-4907-402B-984F-CB49908024C8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67675" y="4311650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B78A2C-2912-4B8B-9969-BFBA296FC125}" type="datetime'''''''''-''3''''7''''0'''''''''''''''''">
              <a:rPr lang="en-US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70</a:t>
            </a:fld>
            <a:endParaRPr lang="en-US" sz="1400" b="1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28A41FE-90DE-46C9-84D1-81AB94ED3C1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280525" y="4551363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72B560C-9E5E-4CF3-9EDF-C56A35C7D2D9}" type="datetime'''''''''''''''''''''''''''''''-''''''21''7'">
              <a:rPr lang="en-US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17</a:t>
            </a:fld>
            <a:endParaRPr lang="en-US" sz="1400" b="1">
              <a:sym typeface="+mn-lt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E9A0431-BF35-46E7-86D1-5EAE1306955C}"/>
              </a:ext>
            </a:extLst>
          </p:cNvPr>
          <p:cNvSpPr txBox="1"/>
          <p:nvPr/>
        </p:nvSpPr>
        <p:spPr>
          <a:xfrm>
            <a:off x="604811" y="4064106"/>
            <a:ext cx="3602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/>
              <a:t>Udvikling egenkapital / </a:t>
            </a:r>
            <a:r>
              <a:rPr lang="da-DK" err="1"/>
              <a:t>kDKK</a:t>
            </a:r>
            <a:endParaRPr lang="da-DK"/>
          </a:p>
          <a:p>
            <a:endParaRPr lang="en-GB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694804-DC6A-43CE-9BD9-B104836C0EF3}"/>
              </a:ext>
            </a:extLst>
          </p:cNvPr>
          <p:cNvSpPr>
            <a:spLocks noGrp="1"/>
          </p:cNvSpPr>
          <p:nvPr/>
        </p:nvSpPr>
        <p:spPr bwMode="gray">
          <a:xfrm>
            <a:off x="5899717" y="3247982"/>
            <a:ext cx="49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sz="14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50670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21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/>
              <a:t>Årsregnskabet 2022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1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6A93498-D709-4606-93BB-0C3A4FCE74B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06482" y="747243"/>
            <a:ext cx="6444980" cy="2681757"/>
          </a:xfrm>
        </p:spPr>
        <p:txBody>
          <a:bodyPr anchor="t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Årsregnskabet er revideret og godkendt uden kommentarer af Irene Jespersen, udpeget af SGRE-ledelsen​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Årsregnskabet er godkendt af Lene Moellgaard, der blev udpeget på sidste Generalforsamling af medlemmerne af Møllebanden som kritisk revisor​ </a:t>
            </a:r>
            <a:r>
              <a:rPr lang="da-DK" sz="1600" u="sng"/>
              <a:t>med en kommentar om at vi har dobbeltbetaling af 744 kr. til Nets-</a:t>
            </a:r>
            <a:r>
              <a:rPr lang="da-DK" sz="1600" u="sng" err="1"/>
              <a:t>Easy</a:t>
            </a:r>
            <a:r>
              <a:rPr lang="da-DK" sz="1600" u="sng"/>
              <a:t> (vores betalingsløsning) hvor vi nu afventer en </a:t>
            </a:r>
            <a:r>
              <a:rPr lang="da-DK" sz="1600" u="sng" err="1"/>
              <a:t>kredit-nota</a:t>
            </a:r>
            <a:r>
              <a:rPr lang="da-DK" sz="1600" u="sng"/>
              <a:t>.</a:t>
            </a:r>
            <a:endParaRPr lang="da-DK" sz="800" u="sng">
              <a:cs typeface="Arial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SPØRGSMÅL?</a:t>
            </a:r>
            <a:endParaRPr lang="da-DK" sz="1600">
              <a:cs typeface="Arial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årsrapporten godkendes​</a:t>
            </a:r>
            <a:endParaRPr lang="da-DK" sz="1600"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sz="1600"/>
          </a:p>
          <a:p>
            <a:endParaRPr lang="da-DK" sz="1600"/>
          </a:p>
          <a:p>
            <a:endParaRPr lang="en-US" sz="16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7</a:t>
            </a:fld>
            <a:endParaRPr lang="da-DK"/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87E04BC3-23DD-4B42-92AF-0345DEF0EE6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539914"/>
              </p:ext>
            </p:extLst>
          </p:nvPr>
        </p:nvGraphicFramePr>
        <p:xfrm>
          <a:off x="5124450" y="4143375"/>
          <a:ext cx="6610350" cy="159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CB4E8C8-EECC-43C2-8C2C-221CF3F69B7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910888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5860E9-08E1-4DC1-AE15-0D01A7C893A8}" type="datetime'''2''''''''''''''''''''''0''2''''''''''''''2'''''''''">
              <a:rPr lang="en-US" altLang="en-US" sz="14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 b="1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2DB0B3-18A4-4F73-A663-E9D946BD2F6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40375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D97BCF-D0C5-49EB-9CBC-574884CE4B39}" type="datetime'2''''''0''''''1''''''''7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3188A6A-BEE4-43F6-97C4-5E57322E6DF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13525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5338F3-30E3-44E5-8DA7-136A2C02DE4A}" type="datetime'''2''''''''''0''''''''''''''''''''''1''''''''''''''''8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4A7604B-C9E6-4085-B19C-DBC83134F05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88263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A33751-2A7F-4BF4-88C8-69A89105C8DE}" type="datetime'''''''''''''''''''20''''''''''''''19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74F7830-3277-4CAD-98A5-F693E90BB1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763000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7F7F6C-3689-48FD-BD26-5915974B6EE9}" type="datetime'2''''''''''''''''''''0''''''2''''''''''''''''''0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391917A-2AE4-4098-82E0-056E2DBDF03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36150" y="5718175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A62624-8BD5-4AC3-B6DC-95142D4E2F09}" type="datetime'''2''''''''''''''''''''0''''''''''''''''''''''''21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ym typeface="+mn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626419E-1770-461C-B169-1A28CE9769C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475538" y="3505200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4377C7-E3A0-4F75-9525-93272C2BD57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475538" y="37687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4112AE7-C64B-456E-BD58-BD23AD19912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777163" y="3500438"/>
            <a:ext cx="13049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err="1">
                <a:sym typeface="+mn-lt"/>
              </a:rPr>
              <a:t>Tilskud</a:t>
            </a:r>
            <a:r>
              <a:rPr lang="en-US" altLang="en-US" sz="1400">
                <a:sym typeface="+mn-lt"/>
              </a:rPr>
              <a:t> </a:t>
            </a:r>
            <a:r>
              <a:rPr lang="en-US" altLang="en-US" sz="1400" err="1">
                <a:sym typeface="+mn-lt"/>
              </a:rPr>
              <a:t>til</a:t>
            </a:r>
            <a:r>
              <a:rPr lang="en-US" altLang="en-US" sz="1400">
                <a:sym typeface="+mn-lt"/>
              </a:rPr>
              <a:t> events</a:t>
            </a:r>
            <a:endParaRPr lang="en-US" sz="140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36FBA345-2F71-49BC-BC6C-0A4F04E7B2D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777163" y="3763963"/>
            <a:ext cx="1162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AC3D3D-7E4D-483E-94F1-27A3CE88ECFD}" type="datetime'''''''''Øv''r''i''''''''''''ge ''''u''d''g''''''''if''te''r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Øvrige udgifter</a:t>
            </a:fld>
            <a:endParaRPr lang="en-US" sz="1400">
              <a:sym typeface="+mn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B9C8805-685F-4317-BA0B-D2504044CA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824252"/>
              </p:ext>
            </p:extLst>
          </p:nvPr>
        </p:nvGraphicFramePr>
        <p:xfrm>
          <a:off x="536357" y="2177750"/>
          <a:ext cx="4507866" cy="3749040"/>
        </p:xfrm>
        <a:graphic>
          <a:graphicData uri="http://schemas.openxmlformats.org/drawingml/2006/table">
            <a:tbl>
              <a:tblPr/>
              <a:tblGrid>
                <a:gridCol w="1942466">
                  <a:extLst>
                    <a:ext uri="{9D8B030D-6E8A-4147-A177-3AD203B41FA5}">
                      <a16:colId xmlns:a16="http://schemas.microsoft.com/office/drawing/2014/main" val="2178256084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3248911822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3600450579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4018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gent og SGRE tilsku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596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461.56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8720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596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461.56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9400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09380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31204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s og aktivite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500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383.616,93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650774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eting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5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3.12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3808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emmesid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200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200.556,14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982710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der, workshop, osv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44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54.822,59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862553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Øvrige udgifter og gebyr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0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6.853,17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562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779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678.973,83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03149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574265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67583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tæg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596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461.56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70525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gif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779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678.973,83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781019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at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   183.000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   217.408,83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3454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primo 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073.43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.073.43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70139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genkapital ultimo 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90.435,00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56.026,17 kr.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2171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2746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4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egnskab &amp; Bud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AAC11-3202-46A9-8EB4-8DF0337F2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412875"/>
            <a:ext cx="5424487" cy="307777"/>
          </a:xfrm>
        </p:spPr>
        <p:txBody>
          <a:bodyPr/>
          <a:lstStyle/>
          <a:p>
            <a:r>
              <a:rPr lang="da-DK"/>
              <a:t>Budget 2023</a:t>
            </a:r>
          </a:p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1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4F17845-4D22-45ED-9899-3BF6E77ACD4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243804" y="745342"/>
            <a:ext cx="6408755" cy="286146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GRE ledelsen har givet tilsagn til at fortsætte med nuværende tilskud, 35,- DKK/MDR/Medl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anbefaler vi fortsætter med uændret medlemskontingent 35,- DKK/MD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SPØRGSMÅL?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600"/>
              <a:t>Bestyrelsen i Møllebanden anbefaler, at budgettet for 2022 godkendes</a:t>
            </a:r>
          </a:p>
          <a:p>
            <a:endParaRPr lang="da-DK"/>
          </a:p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FAB43A1-EA11-4255-B86F-726004BB6D60}"/>
              </a:ext>
            </a:extLst>
          </p:cNvPr>
          <p:cNvSpPr txBox="1"/>
          <p:nvPr/>
        </p:nvSpPr>
        <p:spPr>
          <a:xfrm>
            <a:off x="6616699" y="5743326"/>
            <a:ext cx="338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Egenkapitaludvikling</a:t>
            </a:r>
            <a:r>
              <a:rPr lang="en-GB"/>
              <a:t> / </a:t>
            </a:r>
            <a:r>
              <a:rPr lang="en-GB" err="1"/>
              <a:t>kDKK</a:t>
            </a:r>
            <a:endParaRPr lang="en-GB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8A5EC22-E8C4-4CBE-B9BC-BBD6CC51973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0809100"/>
              </p:ext>
            </p:extLst>
          </p:nvPr>
        </p:nvGraphicFramePr>
        <p:xfrm>
          <a:off x="5160963" y="3400425"/>
          <a:ext cx="5481637" cy="223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032FEFB-C5FB-42FB-BAEA-44B4B7259E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231313" y="40973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21908F-59F2-4B5E-8BF9-6817B069FB0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231313" y="4097338"/>
            <a:ext cx="885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59E0AE8-F58F-4CC5-9FC4-712F6CEA1C1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117138" y="4097338"/>
            <a:ext cx="0" cy="434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D4225D-9A52-463F-89E3-923BA9F25DF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54875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484D17-F04B-4F43-AD35-A39638A88B31}" type="datetime'''2''''''''''''''''''''''''''0''20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0E05D6-59AA-47D6-A84B-621B888831E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26188" y="382905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0FFCA4-07DF-48FB-89A9-3151F17791F8}" type="datetime'''''''''''''1,''''1''''''''''''''''''5''3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153</a:t>
            </a:fld>
            <a:endParaRPr lang="en-US" sz="14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D8DC933-BD83-4105-A2C4-90E882B5AF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483225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A93B17-375C-4A02-B270-0F6B01D80541}" type="datetime'''''''''2''''''''0''''''''''''1''''''''8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0DA7BC9-8807-475C-9621-163B010D237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99425" y="393223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DBCDD6-23DC-4743-B490-B8291AFDE3B7}" type="datetime'''''''''1'''',''''07''''''''''''''''3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073</a:t>
            </a:fld>
            <a:endParaRPr lang="en-US" sz="140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713D82D2-1066-4FEE-96C3-92967F850F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506075" y="4695824"/>
            <a:ext cx="14827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err="1"/>
              <a:t>Langsigtet</a:t>
            </a:r>
            <a:r>
              <a:rPr lang="en-US" sz="1400"/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err="1"/>
              <a:t>målsætning</a:t>
            </a:r>
            <a:r>
              <a:rPr lang="en-US" sz="1400"/>
              <a:t> (~500)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17F3945-3335-456D-836F-959B7E8B38D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69050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B7F81B-073D-48FB-B9CA-71EE2A36445D}" type="datetime'''20''''''1''9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25CFCEC0-B110-4174-A12D-60BA5D61B64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42288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57FDA40-C178-4D37-A3D7-B4B55534FE47}" type="datetime'2''0''''''''''21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13114FD-DCB1-4DA4-A7D1-73E0F6D540A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028113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4103BA-76E5-463B-A5BC-ACA11E43FB4D}" type="datetime'''''''''''''''''''''''''''''''2''''''''''''0''2''2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23A7011-DA9F-46FF-9DC4-389776FF4EF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913938" y="561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6B0E1A-131C-44E4-94B1-EDD045AE5D14}" type="datetime'''''''''''''2''02''''''''3''''''''''''''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9E55F6-06A8-434C-B0E0-D8A9D0616ED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12013" y="345440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1DB492-3CC2-42D9-BA80-B70EC6BDD2F8}" type="datetime'''''''''1'''''''',''''''4''4''''''''''''''3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443</a:t>
            </a:fld>
            <a:endParaRPr lang="en-US" sz="140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3696484-1079-407D-8807-61547CA174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440363" y="324485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8E38FD-1C54-4176-9D2B-D743F50B811E}" type="datetime'''''''''''''''''''''1'''''''''',''''''''''''60''''''''6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606</a:t>
            </a:fld>
            <a:endParaRPr lang="en-US" sz="14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ACE6BF3-1590-4A5A-94F5-E5E6F38680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423400" y="3946525"/>
            <a:ext cx="5016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94A6AE-32D2-4EB8-8D7D-C25D3AB01918}" type="datetime'''''-2''''''''''''''''''''''7''''''''''''''8'''''''''''">
              <a:rPr lang="en-US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78</a:t>
            </a:fld>
            <a:endParaRPr lang="en-US" sz="1400" b="1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F2EECDB-E909-4AE8-8DB1-8C0FF2702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891725"/>
              </p:ext>
            </p:extLst>
          </p:nvPr>
        </p:nvGraphicFramePr>
        <p:xfrm>
          <a:off x="520837" y="2011363"/>
          <a:ext cx="3251200" cy="3600450"/>
        </p:xfrm>
        <a:graphic>
          <a:graphicData uri="http://schemas.openxmlformats.org/drawingml/2006/table">
            <a:tbl>
              <a:tblPr/>
              <a:tblGrid>
                <a:gridCol w="1968500">
                  <a:extLst>
                    <a:ext uri="{9D8B030D-6E8A-4147-A177-3AD203B41FA5}">
                      <a16:colId xmlns:a16="http://schemas.microsoft.com/office/drawing/2014/main" val="971626206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2347548944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dtæg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2882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ontingent og SGRE tilskud</a:t>
                      </a:r>
                      <a:endParaRPr lang="da-DK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512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5194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dtæg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512.000,00 kr.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23229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endParaRPr lang="da-DK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007219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dgif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75654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vents og aktivite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500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5809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keting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    15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76394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jemmesid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 200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25136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øder, workshop, osv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    55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8378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Øvrige udgifter og gebyr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    20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5385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dgif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790.000,00 kr.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14928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endParaRPr lang="da-DK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052435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ulta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12914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dtæg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512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3138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dgifter total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1.790.000,00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49947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ultat 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    278.000,00 kr.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55198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genkapital primo 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 856.026,17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016671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da-DK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genkapital ultimo 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    578.026,17 kr.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4357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90661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Indkomne forsla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75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1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6.30 	Velkomst – </a:t>
            </a:r>
            <a:r>
              <a:rPr lang="da-DK" sz="1600" b="1" i="1"/>
              <a:t>Birgitte Hemdorff Espersen &amp; Lone Jakobsen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395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D784212-6226-45BA-A3AD-CD8E34727A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983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D784212-6226-45BA-A3AD-CD8E34727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8E5694-49B6-4623-9537-F35046A2D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Indkomne</a:t>
            </a:r>
            <a:r>
              <a:rPr lang="en-US"/>
              <a:t> </a:t>
            </a:r>
            <a:r>
              <a:rPr lang="en-US" err="1"/>
              <a:t>forslag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CF3FE6-3D87-4B59-A1A1-B16408FA2F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Ingen </a:t>
            </a:r>
            <a:r>
              <a:rPr lang="en-US" err="1"/>
              <a:t>indkomne</a:t>
            </a:r>
            <a:r>
              <a:rPr lang="en-US"/>
              <a:t> </a:t>
            </a:r>
            <a:r>
              <a:rPr lang="en-US" err="1"/>
              <a:t>forslag</a:t>
            </a:r>
            <a:endParaRPr lang="en-US"/>
          </a:p>
          <a:p>
            <a:endParaRPr lang="en-US"/>
          </a:p>
          <a:p>
            <a:r>
              <a:rPr lang="en-US" err="1"/>
              <a:t>Spørgsmål</a:t>
            </a:r>
            <a:r>
              <a:rPr lang="en-US"/>
              <a:t>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6E2C87B-27D0-40CB-8365-4BDC5992A6D2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94AA46-1787-4C43-A3BA-6B4BA473A3A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E3C65F3-3FD8-4168-8BD2-818BEAF171F3}"/>
              </a:ext>
            </a:extLst>
          </p:cNvPr>
          <p:cNvSpPr txBox="1">
            <a:spLocks/>
          </p:cNvSpPr>
          <p:nvPr/>
        </p:nvSpPr>
        <p:spPr>
          <a:xfrm>
            <a:off x="536786" y="329451"/>
            <a:ext cx="846137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438" indent="-5794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Generalforsamling 2023</a:t>
            </a:r>
          </a:p>
        </p:txBody>
      </p:sp>
    </p:spTree>
    <p:extLst>
      <p:ext uri="{BB962C8B-B14F-4D97-AF65-F5344CB8AC3E}">
        <p14:creationId xmlns:p14="http://schemas.microsoft.com/office/powerpoint/2010/main" val="1587693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1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bestyrelsesmedlemm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8967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8162" y="347664"/>
            <a:ext cx="8461376" cy="180000"/>
          </a:xfrm>
        </p:spPr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2</a:t>
            </a:fld>
            <a:endParaRPr lang="da-DK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1BE622-C43F-4F53-9EF7-AE95C277AB41}"/>
              </a:ext>
            </a:extLst>
          </p:cNvPr>
          <p:cNvSpPr txBox="1"/>
          <p:nvPr/>
        </p:nvSpPr>
        <p:spPr>
          <a:xfrm>
            <a:off x="7355297" y="747608"/>
            <a:ext cx="4335662" cy="501675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/>
              <a:t>BESTYRELSEN BESTÅR AF 9 STEMMEBERETTIGEDE BESTYRELSESMEDLEMMER SAMT 2 SUPPLEANTER</a:t>
            </a:r>
          </a:p>
          <a:p>
            <a:endParaRPr lang="en-GB" sz="1600"/>
          </a:p>
          <a:p>
            <a:r>
              <a:rPr lang="en-GB" sz="1600"/>
              <a:t>BESTYRELSESMEDLEMMER VÆLGES FOR 2 ÅR. SUPPLEANTER VÆLGES FOR 1 ÅR.</a:t>
            </a:r>
            <a:endParaRPr lang="en-GB" sz="1600">
              <a:cs typeface="Arial"/>
            </a:endParaRPr>
          </a:p>
          <a:p>
            <a:endParaRPr lang="en-GB" sz="1600">
              <a:solidFill>
                <a:srgbClr val="FF0000"/>
              </a:solidFill>
            </a:endParaRPr>
          </a:p>
          <a:p>
            <a:r>
              <a:rPr lang="en-GB" sz="1600">
                <a:solidFill>
                  <a:srgbClr val="FF0000"/>
                </a:solidFill>
              </a:rPr>
              <a:t>4 BESTYRELSESPLADSER +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>
                <a:solidFill>
                  <a:srgbClr val="FF0000"/>
                </a:solidFill>
              </a:rPr>
              <a:t>2 SUPPLEANTPLADSER SKAL BESÆTTES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r>
              <a:rPr lang="en-GB" sz="1600"/>
              <a:t>DE 4 OPSTILLEDE KANDIDATER MED FLEST STEMMER BLIVER BESTYRELSESMEDLEMMER, DEREFTER BESÆTTES HHV. 1. SUPPLEANT OG 2. SUPPLEANT UD FRA FLEST STEMMER</a:t>
            </a:r>
          </a:p>
          <a:p>
            <a:endParaRPr lang="en-GB" sz="1600">
              <a:cs typeface="Arial"/>
            </a:endParaRPr>
          </a:p>
          <a:p>
            <a:r>
              <a:rPr lang="en-GB" sz="1600">
                <a:cs typeface="Arial"/>
              </a:rPr>
              <a:t>Michelle Erasmus er </a:t>
            </a:r>
            <a:r>
              <a:rPr lang="en-GB" sz="1600" err="1">
                <a:cs typeface="Arial"/>
              </a:rPr>
              <a:t>pt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på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barselsorlov</a:t>
            </a:r>
            <a:r>
              <a:rPr lang="en-GB" sz="1600">
                <a:cs typeface="Arial"/>
              </a:rPr>
              <a:t>, </a:t>
            </a:r>
            <a:r>
              <a:rPr lang="en-GB" sz="1600" err="1">
                <a:cs typeface="Arial"/>
              </a:rPr>
              <a:t>derfor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vil</a:t>
            </a:r>
            <a:r>
              <a:rPr lang="en-GB" sz="1600">
                <a:cs typeface="Arial"/>
              </a:rPr>
              <a:t> den der </a:t>
            </a:r>
            <a:r>
              <a:rPr lang="en-GB" sz="1600" err="1">
                <a:cs typeface="Arial"/>
              </a:rPr>
              <a:t>bliver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valgt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som</a:t>
            </a:r>
            <a:r>
              <a:rPr lang="en-GB" sz="1600">
                <a:cs typeface="Arial"/>
              </a:rPr>
              <a:t> 1. </a:t>
            </a:r>
            <a:r>
              <a:rPr lang="en-GB" sz="1600" err="1">
                <a:cs typeface="Arial"/>
              </a:rPr>
              <a:t>suppleant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træde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direkte</a:t>
            </a:r>
            <a:r>
              <a:rPr lang="en-GB" sz="1600">
                <a:cs typeface="Arial"/>
              </a:rPr>
              <a:t> </a:t>
            </a:r>
            <a:r>
              <a:rPr lang="en-GB" sz="1600" err="1">
                <a:cs typeface="Arial"/>
              </a:rPr>
              <a:t>ind</a:t>
            </a:r>
            <a:r>
              <a:rPr lang="en-GB" sz="1600">
                <a:cs typeface="Arial"/>
              </a:rPr>
              <a:t> I </a:t>
            </a:r>
            <a:r>
              <a:rPr lang="en-GB" sz="1600" err="1">
                <a:cs typeface="Arial"/>
              </a:rPr>
              <a:t>bestyrelsen</a:t>
            </a:r>
            <a:r>
              <a:rPr lang="en-GB" sz="1600">
                <a:cs typeface="Arial"/>
              </a:rPr>
              <a:t>.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488FA64-A4FC-4547-943F-86CB8849E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471796"/>
              </p:ext>
            </p:extLst>
          </p:nvPr>
        </p:nvGraphicFramePr>
        <p:xfrm>
          <a:off x="501041" y="1158657"/>
          <a:ext cx="6622266" cy="77139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29634">
                  <a:extLst>
                    <a:ext uri="{9D8B030D-6E8A-4147-A177-3AD203B41FA5}">
                      <a16:colId xmlns:a16="http://schemas.microsoft.com/office/drawing/2014/main" val="1085499574"/>
                    </a:ext>
                  </a:extLst>
                </a:gridCol>
                <a:gridCol w="3092632">
                  <a:extLst>
                    <a:ext uri="{9D8B030D-6E8A-4147-A177-3AD203B41FA5}">
                      <a16:colId xmlns:a16="http://schemas.microsoft.com/office/drawing/2014/main" val="742047880"/>
                    </a:ext>
                  </a:extLst>
                </a:gridCol>
              </a:tblGrid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Michelle Lynnerup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Vibeke Lund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Tabea Schadwinkel, Næstformand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Jan Rene Kolding Wandsoe</a:t>
                      </a:r>
                    </a:p>
                    <a:p>
                      <a:pPr lvl="0">
                        <a:buNone/>
                      </a:pPr>
                      <a:endParaRPr lang="da-DK" sz="1600"/>
                    </a:p>
                    <a:p>
                      <a:pPr lvl="0">
                        <a:buNone/>
                      </a:pPr>
                      <a:r>
                        <a:rPr lang="da-DK" sz="1600"/>
                        <a:t>Lone Jakobsen 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Birgitte Espersen, Kasserer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Pia Simmelkjaer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Michelle Erasmus (barselsorlov)</a:t>
                      </a:r>
                    </a:p>
                    <a:p>
                      <a:pPr lvl="0">
                        <a:buNone/>
                      </a:pPr>
                      <a:r>
                        <a:rPr lang="da-DK" sz="1600"/>
                        <a:t>Taus Wind-Larsen, Form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 GENOPSTILLER 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GENOPSTILLER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GENOPSTILLER</a:t>
                      </a:r>
                    </a:p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2/2023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2/2023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2/2023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2/2023</a:t>
                      </a:r>
                    </a:p>
                    <a:p>
                      <a:pPr lvl="0" algn="ctr">
                        <a:buNone/>
                      </a:pPr>
                      <a:r>
                        <a:rPr lang="da-DK" sz="1600"/>
                        <a:t>Valgt for 2022/2023</a:t>
                      </a:r>
                    </a:p>
                    <a:p>
                      <a:pPr lvl="0" algn="ctr">
                        <a:buNone/>
                      </a:pPr>
                      <a:endParaRPr lang="da-DK" sz="1600"/>
                    </a:p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336446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 u="sng"/>
                        <a:t>Suppleanter</a:t>
                      </a: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9263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Henrik Dalsga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 IKK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375898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a-DK" sz="1600"/>
                        <a:t>Barbara Hanzewniak (barselsorlo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a-DK" sz="1600"/>
                        <a:t>GENOPSTILLER IKK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268623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786709"/>
                  </a:ext>
                </a:extLst>
              </a:tr>
              <a:tr h="140965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300639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da-DK" sz="1600" u="sn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9980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934337"/>
                  </a:ext>
                </a:extLst>
              </a:tr>
              <a:tr h="525165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a-DK" sz="1600" b="0" i="0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975031"/>
                  </a:ext>
                </a:extLst>
              </a:tr>
              <a:tr h="304043">
                <a:tc>
                  <a:txBody>
                    <a:bodyPr/>
                    <a:lstStyle/>
                    <a:p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077269"/>
                  </a:ext>
                </a:extLst>
              </a:tr>
              <a:tr h="414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a-DK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515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349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10C7FF6-763E-47D8-ABAB-AB7D20499A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76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10C7FF6-763E-47D8-ABAB-AB7D20499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920514-22E4-43A9-9C38-5A30FFC0E9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3</a:t>
            </a:fld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6C55D4-7E47-4C38-B2AA-348BCFD21FA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36"/>
          <a:stretch/>
        </p:blipFill>
        <p:spPr>
          <a:xfrm>
            <a:off x="-29807" y="0"/>
            <a:ext cx="10857641" cy="608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254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896289CA-D9B1-3992-5CC0-DDC44C27EE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4438" y="257172"/>
            <a:ext cx="10543123" cy="5781707"/>
          </a:xfr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5B853C-3410-E033-88EB-B2371F9C3C2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63365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bestyrelsesmedlemmer​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5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B4B4D0-29E4-4778-863D-84D1F1E7D884}"/>
              </a:ext>
            </a:extLst>
          </p:cNvPr>
          <p:cNvSpPr txBox="1"/>
          <p:nvPr/>
        </p:nvSpPr>
        <p:spPr>
          <a:xfrm>
            <a:off x="481595" y="1371600"/>
            <a:ext cx="5145389" cy="41703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/>
              <a:t>4 </a:t>
            </a:r>
            <a:r>
              <a:rPr lang="en-GB" sz="1400" err="1"/>
              <a:t>bestyrelsesmedlemmer</a:t>
            </a:r>
            <a:r>
              <a:rPr lang="en-GB" sz="1400"/>
              <a:t> og 2 </a:t>
            </a:r>
            <a:r>
              <a:rPr lang="en-GB" sz="1400" err="1"/>
              <a:t>suppleanter</a:t>
            </a:r>
            <a:r>
              <a:rPr lang="en-GB" sz="1400"/>
              <a:t> </a:t>
            </a:r>
            <a:r>
              <a:rPr lang="en-GB" sz="1400" err="1"/>
              <a:t>skal</a:t>
            </a:r>
            <a:r>
              <a:rPr lang="en-GB" sz="1400"/>
              <a:t> </a:t>
            </a:r>
            <a:r>
              <a:rPr lang="en-GB" sz="1400" err="1"/>
              <a:t>vælges</a:t>
            </a:r>
            <a:r>
              <a:rPr lang="en-GB" sz="1400"/>
              <a:t>.</a:t>
            </a:r>
          </a:p>
          <a:p>
            <a:endParaRPr lang="en-GB" sz="1400"/>
          </a:p>
          <a:p>
            <a:r>
              <a:rPr lang="en-GB" sz="1400" b="1" err="1"/>
              <a:t>Hvem</a:t>
            </a:r>
            <a:r>
              <a:rPr lang="en-GB" sz="1400" b="1"/>
              <a:t> stiller op?</a:t>
            </a:r>
            <a:endParaRPr lang="en-GB" sz="1400" b="1">
              <a:cs typeface="Arial"/>
            </a:endParaRPr>
          </a:p>
          <a:p>
            <a:endParaRPr lang="en-GB" sz="14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/>
              <a:t>Michelle Lynnerup</a:t>
            </a:r>
            <a:endParaRPr lang="en-GB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Vibeke Lun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Tabea Schadwinke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Jan Wandso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Zhe Ch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Pia Clemmens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Birgitte </a:t>
            </a:r>
            <a:r>
              <a:rPr lang="en-GB" sz="1400" err="1">
                <a:cs typeface="Arial"/>
              </a:rPr>
              <a:t>Søby</a:t>
            </a:r>
            <a:endParaRPr lang="en-GB" sz="1400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Barbora Gasparov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Daniel </a:t>
            </a:r>
            <a:r>
              <a:rPr lang="en-GB" sz="1400" err="1">
                <a:cs typeface="Arial"/>
              </a:rPr>
              <a:t>Teodor</a:t>
            </a:r>
            <a:r>
              <a:rPr lang="en-GB" sz="1400">
                <a:cs typeface="Arial"/>
              </a:rPr>
              <a:t> Avram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cs typeface="Arial"/>
              </a:rPr>
              <a:t>Dan Mortens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D28B04-17F3-4014-8FB5-43BB1E461F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413" y="646354"/>
            <a:ext cx="6384587" cy="5434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98ED41-C3E8-486F-AD21-3935B12EA1D6}"/>
              </a:ext>
            </a:extLst>
          </p:cNvPr>
          <p:cNvSpPr txBox="1"/>
          <p:nvPr/>
        </p:nvSpPr>
        <p:spPr>
          <a:xfrm>
            <a:off x="341011" y="5758777"/>
            <a:ext cx="5466402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/>
              <a:t>SKRIV OP TIL 4 NAVNE PÅ STEMMESEDLEN!</a:t>
            </a:r>
          </a:p>
        </p:txBody>
      </p:sp>
    </p:spTree>
    <p:extLst>
      <p:ext uri="{BB962C8B-B14F-4D97-AF65-F5344CB8AC3E}">
        <p14:creationId xmlns:p14="http://schemas.microsoft.com/office/powerpoint/2010/main" val="2840838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7.45	Spisnin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38788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92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Events 2022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7</a:t>
            </a:fld>
            <a:endParaRPr lang="da-DK"/>
          </a:p>
        </p:txBody>
      </p:sp>
      <p:pic>
        <p:nvPicPr>
          <p:cNvPr id="3" name="Picture 7" descr="A picture containing sky, outdoor, smoke&#10;&#10;Description automatically generated">
            <a:extLst>
              <a:ext uri="{FF2B5EF4-FFF2-40B4-BE49-F238E27FC236}">
                <a16:creationId xmlns:a16="http://schemas.microsoft.com/office/drawing/2014/main" id="{0D637734-8094-D116-E69C-3645000E76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240195" y="1379743"/>
            <a:ext cx="3086654" cy="2530339"/>
          </a:xfrm>
          <a:prstGeom prst="rect">
            <a:avLst/>
          </a:prstGeom>
        </p:spPr>
      </p:pic>
      <p:pic>
        <p:nvPicPr>
          <p:cNvPr id="8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392A034E-9758-826F-FEBC-65AE878BA9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4331803" y="2699440"/>
            <a:ext cx="3053524" cy="2662860"/>
          </a:xfrm>
          <a:prstGeom prst="rect">
            <a:avLst/>
          </a:prstGeom>
        </p:spPr>
      </p:pic>
      <p:pic>
        <p:nvPicPr>
          <p:cNvPr id="9" name="Picture 10" descr="A picture containing plant, marketplace, garden, meal&#10;&#10;Description automatically generated">
            <a:extLst>
              <a:ext uri="{FF2B5EF4-FFF2-40B4-BE49-F238E27FC236}">
                <a16:creationId xmlns:a16="http://schemas.microsoft.com/office/drawing/2014/main" id="{134E7349-9440-0390-AB62-D0F177622A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35301" y="1494183"/>
            <a:ext cx="2563484" cy="27432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0F71BF3-3A08-5DDD-0D6C-409EEC91473B}"/>
              </a:ext>
            </a:extLst>
          </p:cNvPr>
          <p:cNvSpPr txBox="1"/>
          <p:nvPr/>
        </p:nvSpPr>
        <p:spPr>
          <a:xfrm>
            <a:off x="1297608" y="4185478"/>
            <a:ext cx="241852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Østerild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1A6518-EDCA-56FA-49BD-9BD0EDDFE00B}"/>
              </a:ext>
            </a:extLst>
          </p:cNvPr>
          <p:cNvSpPr txBox="1"/>
          <p:nvPr/>
        </p:nvSpPr>
        <p:spPr>
          <a:xfrm>
            <a:off x="5438913" y="5560391"/>
            <a:ext cx="258417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>
                <a:cs typeface="Arial"/>
              </a:rPr>
              <a:t>Krea-U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0407E2-CC3A-2418-5A3B-859BAE56AB81}"/>
              </a:ext>
            </a:extLst>
          </p:cNvPr>
          <p:cNvSpPr txBox="1"/>
          <p:nvPr/>
        </p:nvSpPr>
        <p:spPr>
          <a:xfrm>
            <a:off x="8812695" y="4246217"/>
            <a:ext cx="2534478" cy="380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Flowers by Aaman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55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8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b="1"/>
              <a:t>Kl. 18.30 	Generalforsamling fortsat &amp; optælling af stemm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15709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29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 err="1"/>
              <a:t>Eventmaker</a:t>
            </a:r>
            <a:r>
              <a:rPr lang="da-DK" sz="1600" b="1"/>
              <a:t> community – Pia Butzkowsky Simmelkjae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9752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59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52461"/>
            <a:ext cx="8460000" cy="307777"/>
          </a:xfrm>
        </p:spPr>
        <p:txBody>
          <a:bodyPr vert="horz"/>
          <a:lstStyle/>
          <a:p>
            <a:r>
              <a:rPr lang="da-DK"/>
              <a:t>Valg af dirigent og valg af stemmetæll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8F4F8F-86C3-4531-B0C5-664EA10E0D6B}"/>
              </a:ext>
            </a:extLst>
          </p:cNvPr>
          <p:cNvSpPr txBox="1"/>
          <p:nvPr/>
        </p:nvSpPr>
        <p:spPr>
          <a:xfrm>
            <a:off x="538162" y="1375108"/>
            <a:ext cx="5557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1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dirigent</a:t>
            </a:r>
            <a:endParaRPr lang="en-GB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A2A266-7FBE-4332-A700-61D78AD65338}"/>
              </a:ext>
            </a:extLst>
          </p:cNvPr>
          <p:cNvSpPr txBox="1"/>
          <p:nvPr/>
        </p:nvSpPr>
        <p:spPr>
          <a:xfrm>
            <a:off x="538162" y="1805313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/>
              <a:t>Vi </a:t>
            </a:r>
            <a:r>
              <a:rPr lang="en-GB" i="1" err="1"/>
              <a:t>skal</a:t>
            </a:r>
            <a:r>
              <a:rPr lang="en-GB" i="1"/>
              <a:t> have </a:t>
            </a:r>
            <a:r>
              <a:rPr lang="en-GB" i="1" err="1"/>
              <a:t>fundet</a:t>
            </a:r>
            <a:r>
              <a:rPr lang="en-GB" i="1"/>
              <a:t> </a:t>
            </a:r>
            <a:r>
              <a:rPr lang="en-GB" i="1" err="1"/>
              <a:t>en</a:t>
            </a:r>
            <a:r>
              <a:rPr lang="en-GB" i="1"/>
              <a:t> </a:t>
            </a:r>
            <a:r>
              <a:rPr lang="en-GB" i="1" err="1"/>
              <a:t>dirigent</a:t>
            </a:r>
            <a:r>
              <a:rPr lang="en-GB" i="1"/>
              <a:t> </a:t>
            </a:r>
            <a:r>
              <a:rPr lang="en-GB" i="1" err="1"/>
              <a:t>i</a:t>
            </a:r>
            <a:r>
              <a:rPr lang="en-GB" i="1"/>
              <a:t> </a:t>
            </a:r>
            <a:r>
              <a:rPr lang="en-GB" i="1" err="1"/>
              <a:t>salen</a:t>
            </a:r>
            <a:endParaRPr lang="en-GB" i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67A3A1-67B6-4F7F-BF7F-9052DBA82314}"/>
              </a:ext>
            </a:extLst>
          </p:cNvPr>
          <p:cNvSpPr txBox="1"/>
          <p:nvPr/>
        </p:nvSpPr>
        <p:spPr>
          <a:xfrm>
            <a:off x="538162" y="2779630"/>
            <a:ext cx="676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2 – </a:t>
            </a:r>
            <a:r>
              <a:rPr lang="en-GB" b="1" err="1"/>
              <a:t>Valg</a:t>
            </a:r>
            <a:r>
              <a:rPr lang="en-GB" b="1"/>
              <a:t> </a:t>
            </a:r>
            <a:r>
              <a:rPr lang="en-GB" b="1" err="1"/>
              <a:t>af</a:t>
            </a:r>
            <a:r>
              <a:rPr lang="en-GB" b="1"/>
              <a:t> </a:t>
            </a:r>
            <a:r>
              <a:rPr lang="en-GB" b="1" err="1"/>
              <a:t>stemmetællere</a:t>
            </a:r>
            <a:r>
              <a:rPr lang="en-GB" b="1"/>
              <a:t> (3 </a:t>
            </a:r>
            <a:r>
              <a:rPr lang="en-GB" b="1" err="1"/>
              <a:t>stk</a:t>
            </a:r>
            <a:r>
              <a:rPr lang="en-GB" b="1"/>
              <a:t>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1E27F3-AF94-480E-8E8D-1BE6705CF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127" y="3394501"/>
            <a:ext cx="3305686" cy="26571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8F2FCE2-E593-43E0-8170-F2B98D6F1635}"/>
              </a:ext>
            </a:extLst>
          </p:cNvPr>
          <p:cNvSpPr/>
          <p:nvPr/>
        </p:nvSpPr>
        <p:spPr>
          <a:xfrm>
            <a:off x="7065521" y="401936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 algn="ctr"/>
            <a:endParaRPr lang="en-US" sz="5400" b="0" cap="none" spc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054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399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a-DK"/>
              <a:t>Event </a:t>
            </a:r>
            <a:r>
              <a:rPr lang="da-DK" err="1"/>
              <a:t>maker</a:t>
            </a:r>
            <a:r>
              <a:rPr lang="da-DK"/>
              <a:t> community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0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C2D612-1E53-8EF1-4516-12170CF5D44C}"/>
              </a:ext>
            </a:extLst>
          </p:cNvPr>
          <p:cNvSpPr txBox="1"/>
          <p:nvPr/>
        </p:nvSpPr>
        <p:spPr>
          <a:xfrm>
            <a:off x="634125" y="1072056"/>
            <a:ext cx="11072646" cy="47705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err="1">
                <a:ea typeface="+mn-lt"/>
                <a:cs typeface="+mn-lt"/>
              </a:rPr>
              <a:t>Møllebandens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venner</a:t>
            </a:r>
            <a:r>
              <a:rPr lang="en-US" sz="1600">
                <a:ea typeface="+mn-lt"/>
                <a:cs typeface="+mn-lt"/>
              </a:rPr>
              <a:t>, et event maker community!</a:t>
            </a:r>
          </a:p>
          <a:p>
            <a:pPr algn="just"/>
            <a:endParaRPr lang="en-US" sz="16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err="1">
                <a:ea typeface="+mn-lt"/>
                <a:cs typeface="+mn-lt"/>
              </a:rPr>
              <a:t>Møllebandens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venn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stræb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efter</a:t>
            </a:r>
            <a:r>
              <a:rPr lang="en-US" sz="1600">
                <a:ea typeface="+mn-lt"/>
                <a:cs typeface="+mn-lt"/>
              </a:rPr>
              <a:t> at </a:t>
            </a:r>
            <a:r>
              <a:rPr lang="en-US" sz="1600" err="1">
                <a:ea typeface="+mn-lt"/>
                <a:cs typeface="+mn-lt"/>
              </a:rPr>
              <a:t>være</a:t>
            </a:r>
            <a:r>
              <a:rPr lang="en-US" sz="1600">
                <a:ea typeface="+mn-lt"/>
                <a:cs typeface="+mn-lt"/>
              </a:rPr>
              <a:t> et </a:t>
            </a:r>
            <a:r>
              <a:rPr lang="en-US" sz="1600" err="1">
                <a:ea typeface="+mn-lt"/>
                <a:cs typeface="+mn-lt"/>
              </a:rPr>
              <a:t>hel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ællesskab</a:t>
            </a:r>
            <a:r>
              <a:rPr lang="en-US" sz="1600">
                <a:ea typeface="+mn-lt"/>
                <a:cs typeface="+mn-lt"/>
              </a:rPr>
              <a:t> for </a:t>
            </a:r>
            <a:r>
              <a:rPr lang="en-US" sz="1600" err="1">
                <a:ea typeface="+mn-lt"/>
                <a:cs typeface="+mn-lt"/>
              </a:rPr>
              <a:t>eventmaker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i</a:t>
            </a:r>
            <a:r>
              <a:rPr lang="en-US" sz="1600">
                <a:ea typeface="+mn-lt"/>
                <a:cs typeface="+mn-lt"/>
              </a:rPr>
              <a:t> 2023.</a:t>
            </a:r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err="1">
                <a:ea typeface="+mn-lt"/>
                <a:cs typeface="+mn-lt"/>
              </a:rPr>
              <a:t>Bestyrelsen</a:t>
            </a:r>
            <a:r>
              <a:rPr lang="en-US" sz="1600">
                <a:ea typeface="+mn-lt"/>
                <a:cs typeface="+mn-lt"/>
              </a:rPr>
              <a:t> har </a:t>
            </a:r>
            <a:r>
              <a:rPr lang="en-US" sz="1600" err="1">
                <a:ea typeface="+mn-lt"/>
                <a:cs typeface="+mn-lt"/>
              </a:rPr>
              <a:t>oprette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en</a:t>
            </a:r>
            <a:r>
              <a:rPr lang="en-US" sz="1600">
                <a:ea typeface="+mn-lt"/>
                <a:cs typeface="+mn-lt"/>
              </a:rPr>
              <a:t> Yammer-</a:t>
            </a:r>
            <a:r>
              <a:rPr lang="en-US" sz="1600" err="1">
                <a:ea typeface="+mn-lt"/>
                <a:cs typeface="+mn-lt"/>
              </a:rPr>
              <a:t>gruppe</a:t>
            </a:r>
            <a:r>
              <a:rPr lang="en-US" sz="1600">
                <a:ea typeface="+mn-lt"/>
                <a:cs typeface="+mn-lt"/>
              </a:rPr>
              <a:t>, </a:t>
            </a:r>
            <a:r>
              <a:rPr lang="en-US" sz="1600" err="1">
                <a:ea typeface="+mn-lt"/>
                <a:cs typeface="+mn-lt"/>
              </a:rPr>
              <a:t>hvor</a:t>
            </a:r>
            <a:r>
              <a:rPr lang="en-US" sz="1600">
                <a:ea typeface="+mn-lt"/>
                <a:cs typeface="+mn-lt"/>
              </a:rPr>
              <a:t> vi </a:t>
            </a:r>
            <a:r>
              <a:rPr lang="en-US" sz="1600" err="1">
                <a:ea typeface="+mn-lt"/>
                <a:cs typeface="+mn-lt"/>
              </a:rPr>
              <a:t>nem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kan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skriv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orslag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til</a:t>
            </a:r>
            <a:r>
              <a:rPr lang="en-US" sz="1600">
                <a:ea typeface="+mn-lt"/>
                <a:cs typeface="+mn-lt"/>
              </a:rPr>
              <a:t> events og </a:t>
            </a:r>
            <a:r>
              <a:rPr lang="en-US" sz="1600" err="1">
                <a:ea typeface="+mn-lt"/>
                <a:cs typeface="+mn-lt"/>
              </a:rPr>
              <a:t>bede</a:t>
            </a:r>
            <a:r>
              <a:rPr lang="en-US" sz="1600">
                <a:ea typeface="+mn-lt"/>
                <a:cs typeface="+mn-lt"/>
              </a:rPr>
              <a:t> om </a:t>
            </a:r>
            <a:r>
              <a:rPr lang="en-US" sz="1600" err="1">
                <a:ea typeface="+mn-lt"/>
                <a:cs typeface="+mn-lt"/>
              </a:rPr>
              <a:t>støtt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til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orskellig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opgav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samt</a:t>
            </a:r>
            <a:r>
              <a:rPr lang="en-US" sz="1600">
                <a:ea typeface="+mn-lt"/>
                <a:cs typeface="+mn-lt"/>
              </a:rPr>
              <a:t> give nye event </a:t>
            </a:r>
            <a:r>
              <a:rPr lang="en-US" sz="1600" err="1">
                <a:ea typeface="+mn-lt"/>
                <a:cs typeface="+mn-lt"/>
              </a:rPr>
              <a:t>makere</a:t>
            </a:r>
            <a:r>
              <a:rPr lang="en-US" sz="1600">
                <a:ea typeface="+mn-lt"/>
                <a:cs typeface="+mn-lt"/>
              </a:rPr>
              <a:t> et forum, </a:t>
            </a:r>
            <a:r>
              <a:rPr lang="en-US" sz="1600" err="1">
                <a:ea typeface="+mn-lt"/>
                <a:cs typeface="+mn-lt"/>
              </a:rPr>
              <a:t>hvor</a:t>
            </a:r>
            <a:r>
              <a:rPr lang="en-US" sz="1600">
                <a:ea typeface="+mn-lt"/>
                <a:cs typeface="+mn-lt"/>
              </a:rPr>
              <a:t> de </a:t>
            </a:r>
            <a:r>
              <a:rPr lang="en-US" sz="1600" err="1">
                <a:ea typeface="+mn-lt"/>
                <a:cs typeface="+mn-lt"/>
              </a:rPr>
              <a:t>kan</a:t>
            </a:r>
            <a:r>
              <a:rPr lang="en-US" sz="1600">
                <a:ea typeface="+mn-lt"/>
                <a:cs typeface="+mn-lt"/>
              </a:rPr>
              <a:t> </a:t>
            </a:r>
            <a:r>
              <a:rPr lang="en-US" sz="1600" err="1">
                <a:ea typeface="+mn-lt"/>
                <a:cs typeface="+mn-lt"/>
              </a:rPr>
              <a:t>få</a:t>
            </a:r>
            <a:r>
              <a:rPr lang="en-US" sz="1600">
                <a:ea typeface="+mn-lt"/>
                <a:cs typeface="+mn-lt"/>
              </a:rPr>
              <a:t> </a:t>
            </a:r>
            <a:r>
              <a:rPr lang="en-US" sz="1600" err="1">
                <a:ea typeface="+mn-lt"/>
                <a:cs typeface="+mn-lt"/>
              </a:rPr>
              <a:t>støtte</a:t>
            </a:r>
            <a:r>
              <a:rPr lang="en-US" sz="1600">
                <a:ea typeface="+mn-lt"/>
                <a:cs typeface="+mn-lt"/>
              </a:rPr>
              <a:t> og </a:t>
            </a:r>
            <a:r>
              <a:rPr lang="en-US" sz="1600" err="1">
                <a:ea typeface="+mn-lt"/>
                <a:cs typeface="+mn-lt"/>
              </a:rPr>
              <a:t>råd</a:t>
            </a:r>
            <a:r>
              <a:rPr lang="en-US" sz="1600">
                <a:ea typeface="+mn-lt"/>
                <a:cs typeface="+mn-lt"/>
              </a:rPr>
              <a:t> </a:t>
            </a:r>
            <a:r>
              <a:rPr lang="en-US" sz="1600" err="1">
                <a:ea typeface="+mn-lt"/>
                <a:cs typeface="+mn-lt"/>
              </a:rPr>
              <a:t>fra</a:t>
            </a:r>
            <a:r>
              <a:rPr lang="en-US" sz="1600">
                <a:ea typeface="+mn-lt"/>
                <a:cs typeface="+mn-lt"/>
              </a:rPr>
              <a:t> </a:t>
            </a:r>
            <a:r>
              <a:rPr lang="en-US" sz="1600" err="1">
                <a:ea typeface="+mn-lt"/>
                <a:cs typeface="+mn-lt"/>
              </a:rPr>
              <a:t>vores</a:t>
            </a:r>
            <a:r>
              <a:rPr lang="en-US" sz="1600">
                <a:ea typeface="+mn-lt"/>
                <a:cs typeface="+mn-lt"/>
              </a:rPr>
              <a:t> mere </a:t>
            </a:r>
            <a:r>
              <a:rPr lang="en-US" sz="1600" err="1">
                <a:ea typeface="+mn-lt"/>
                <a:cs typeface="+mn-lt"/>
              </a:rPr>
              <a:t>erfarne</a:t>
            </a:r>
            <a:r>
              <a:rPr lang="en-US" sz="1600">
                <a:ea typeface="+mn-lt"/>
                <a:cs typeface="+mn-lt"/>
              </a:rPr>
              <a:t> event </a:t>
            </a:r>
            <a:r>
              <a:rPr lang="en-US" sz="1600" err="1">
                <a:ea typeface="+mn-lt"/>
                <a:cs typeface="+mn-lt"/>
              </a:rPr>
              <a:t>makere</a:t>
            </a:r>
            <a:r>
              <a:rPr lang="en-US" sz="1600">
                <a:ea typeface="+mn-lt"/>
                <a:cs typeface="+mn-lt"/>
              </a:rPr>
              <a:t>.</a:t>
            </a:r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Det er </a:t>
            </a:r>
            <a:r>
              <a:rPr lang="en-US" sz="1600" err="1">
                <a:ea typeface="+mn-lt"/>
                <a:cs typeface="+mn-lt"/>
              </a:rPr>
              <a:t>frivilligt</a:t>
            </a:r>
            <a:r>
              <a:rPr lang="en-US" sz="1600">
                <a:ea typeface="+mn-lt"/>
                <a:cs typeface="+mn-lt"/>
              </a:rPr>
              <a:t>.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Alle </a:t>
            </a:r>
            <a:r>
              <a:rPr lang="en-US" sz="1600" err="1">
                <a:ea typeface="+mn-lt"/>
                <a:cs typeface="+mn-lt"/>
              </a:rPr>
              <a:t>medlemm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kan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være</a:t>
            </a:r>
            <a:r>
              <a:rPr lang="en-US" sz="1600">
                <a:ea typeface="+mn-lt"/>
                <a:cs typeface="+mn-lt"/>
              </a:rPr>
              <a:t> med </a:t>
            </a:r>
            <a:r>
              <a:rPr lang="en-US" sz="1600" err="1">
                <a:ea typeface="+mn-lt"/>
                <a:cs typeface="+mn-lt"/>
              </a:rPr>
              <a:t>i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ællesskabet</a:t>
            </a:r>
            <a:r>
              <a:rPr lang="en-US" sz="1600">
                <a:ea typeface="+mn-lt"/>
                <a:cs typeface="+mn-lt"/>
              </a:rPr>
              <a:t>.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Alle, der </a:t>
            </a:r>
            <a:r>
              <a:rPr lang="en-US" sz="1600" err="1">
                <a:ea typeface="+mn-lt"/>
                <a:cs typeface="+mn-lt"/>
              </a:rPr>
              <a:t>ønsker</a:t>
            </a:r>
            <a:r>
              <a:rPr lang="en-US" sz="1600">
                <a:ea typeface="+mn-lt"/>
                <a:cs typeface="+mn-lt"/>
              </a:rPr>
              <a:t> at </a:t>
            </a:r>
            <a:r>
              <a:rPr lang="en-US" sz="1600" err="1">
                <a:ea typeface="+mn-lt"/>
                <a:cs typeface="+mn-lt"/>
              </a:rPr>
              <a:t>støtt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aktivt</a:t>
            </a:r>
            <a:r>
              <a:rPr lang="en-US" sz="1600">
                <a:ea typeface="+mn-lt"/>
                <a:cs typeface="+mn-lt"/>
              </a:rPr>
              <a:t> .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Det er </a:t>
            </a:r>
            <a:r>
              <a:rPr lang="en-US" sz="1600" err="1">
                <a:ea typeface="+mn-lt"/>
                <a:cs typeface="+mn-lt"/>
              </a:rPr>
              <a:t>men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som</a:t>
            </a:r>
            <a:r>
              <a:rPr lang="en-US" sz="1600">
                <a:ea typeface="+mn-lt"/>
                <a:cs typeface="+mn-lt"/>
              </a:rPr>
              <a:t> et </a:t>
            </a:r>
            <a:r>
              <a:rPr lang="en-US" sz="1600" err="1">
                <a:ea typeface="+mn-lt"/>
                <a:cs typeface="+mn-lt"/>
              </a:rPr>
              <a:t>netværk</a:t>
            </a:r>
            <a:r>
              <a:rPr lang="en-US" sz="1600">
                <a:ea typeface="+mn-lt"/>
                <a:cs typeface="+mn-lt"/>
              </a:rPr>
              <a:t> for </a:t>
            </a:r>
            <a:r>
              <a:rPr lang="en-US" sz="1600" err="1">
                <a:ea typeface="+mn-lt"/>
                <a:cs typeface="+mn-lt"/>
              </a:rPr>
              <a:t>medlemmer</a:t>
            </a:r>
            <a:r>
              <a:rPr lang="en-US" sz="1600">
                <a:ea typeface="+mn-lt"/>
                <a:cs typeface="+mn-lt"/>
              </a:rPr>
              <a:t>/event </a:t>
            </a:r>
            <a:r>
              <a:rPr lang="en-US" sz="1600" err="1">
                <a:ea typeface="+mn-lt"/>
                <a:cs typeface="+mn-lt"/>
              </a:rPr>
              <a:t>maker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til</a:t>
            </a:r>
            <a:r>
              <a:rPr lang="en-US" sz="1600">
                <a:ea typeface="+mn-lt"/>
                <a:cs typeface="+mn-lt"/>
              </a:rPr>
              <a:t> at </a:t>
            </a:r>
            <a:r>
              <a:rPr lang="en-US" sz="1600" err="1">
                <a:ea typeface="+mn-lt"/>
                <a:cs typeface="+mn-lt"/>
              </a:rPr>
              <a:t>udveksl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ideer</a:t>
            </a:r>
            <a:r>
              <a:rPr lang="en-US" sz="1600">
                <a:ea typeface="+mn-lt"/>
                <a:cs typeface="+mn-lt"/>
              </a:rPr>
              <a:t> og </a:t>
            </a:r>
            <a:r>
              <a:rPr lang="en-US" sz="1600" err="1">
                <a:ea typeface="+mn-lt"/>
                <a:cs typeface="+mn-lt"/>
              </a:rPr>
              <a:t>viden</a:t>
            </a:r>
            <a:r>
              <a:rPr lang="en-US" sz="1600">
                <a:ea typeface="+mn-lt"/>
                <a:cs typeface="+mn-lt"/>
              </a:rPr>
              <a:t> og </a:t>
            </a:r>
            <a:r>
              <a:rPr lang="en-US" sz="1600" err="1">
                <a:ea typeface="+mn-lt"/>
                <a:cs typeface="+mn-lt"/>
              </a:rPr>
              <a:t>støtt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personale-foreningen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generelt</a:t>
            </a:r>
            <a:r>
              <a:rPr lang="en-US" sz="1600">
                <a:ea typeface="+mn-lt"/>
                <a:cs typeface="+mn-lt"/>
              </a:rPr>
              <a:t>.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err="1">
                <a:ea typeface="+mn-lt"/>
                <a:cs typeface="+mn-lt"/>
              </a:rPr>
              <a:t>Fællesskabe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vil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oft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å</a:t>
            </a:r>
            <a:r>
              <a:rPr lang="en-US" sz="1600">
                <a:ea typeface="+mn-lt"/>
                <a:cs typeface="+mn-lt"/>
              </a:rPr>
              <a:t> input </a:t>
            </a:r>
            <a:r>
              <a:rPr lang="en-US" sz="1600" err="1">
                <a:ea typeface="+mn-lt"/>
                <a:cs typeface="+mn-lt"/>
              </a:rPr>
              <a:t>fra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bestyrelsen</a:t>
            </a:r>
            <a:r>
              <a:rPr lang="en-US" sz="1600">
                <a:ea typeface="+mn-lt"/>
                <a:cs typeface="+mn-lt"/>
              </a:rPr>
              <a:t> om </a:t>
            </a:r>
            <a:r>
              <a:rPr lang="en-US" sz="1600" err="1">
                <a:ea typeface="+mn-lt"/>
                <a:cs typeface="+mn-lt"/>
              </a:rPr>
              <a:t>forslag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til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arrangement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.eks</a:t>
            </a:r>
            <a:r>
              <a:rPr lang="en-US" sz="1600">
                <a:ea typeface="+mn-lt"/>
                <a:cs typeface="+mn-lt"/>
              </a:rPr>
              <a:t>. </a:t>
            </a:r>
            <a:r>
              <a:rPr lang="en-US" sz="1600" err="1">
                <a:ea typeface="+mn-lt"/>
                <a:cs typeface="+mn-lt"/>
              </a:rPr>
              <a:t>tilbud</a:t>
            </a:r>
            <a:r>
              <a:rPr lang="en-US" sz="1600">
                <a:ea typeface="+mn-lt"/>
                <a:cs typeface="+mn-lt"/>
              </a:rPr>
              <a:t> om </a:t>
            </a:r>
            <a:r>
              <a:rPr lang="en-US" sz="1600" err="1">
                <a:ea typeface="+mn-lt"/>
                <a:cs typeface="+mn-lt"/>
              </a:rPr>
              <a:t>arrangement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modtaget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ra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leverandører</a:t>
            </a:r>
            <a:r>
              <a:rPr lang="en-US" sz="1600">
                <a:ea typeface="+mn-lt"/>
                <a:cs typeface="+mn-lt"/>
              </a:rPr>
              <a:t> (via mail) </a:t>
            </a:r>
            <a:r>
              <a:rPr lang="en-US" sz="1600" err="1">
                <a:ea typeface="+mn-lt"/>
                <a:cs typeface="+mn-lt"/>
              </a:rPr>
              <a:t>eller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forslag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til</a:t>
            </a:r>
            <a:r>
              <a:rPr lang="en-US" sz="1600">
                <a:ea typeface="+mn-lt"/>
                <a:cs typeface="+mn-lt"/>
              </a:rPr>
              <a:t> at </a:t>
            </a:r>
            <a:r>
              <a:rPr lang="en-US" sz="1600" err="1">
                <a:ea typeface="+mn-lt"/>
                <a:cs typeface="+mn-lt"/>
              </a:rPr>
              <a:t>arrangere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 err="1">
                <a:ea typeface="+mn-lt"/>
                <a:cs typeface="+mn-lt"/>
              </a:rPr>
              <a:t>ekstraordinære</a:t>
            </a:r>
            <a:r>
              <a:rPr lang="en-US" sz="1600">
                <a:ea typeface="+mn-lt"/>
                <a:cs typeface="+mn-lt"/>
              </a:rPr>
              <a:t> store </a:t>
            </a:r>
            <a:r>
              <a:rPr lang="en-US" sz="1600" err="1">
                <a:ea typeface="+mn-lt"/>
                <a:cs typeface="+mn-lt"/>
              </a:rPr>
              <a:t>arrangementer</a:t>
            </a:r>
            <a:r>
              <a:rPr lang="en-US" sz="1600">
                <a:ea typeface="+mn-lt"/>
                <a:cs typeface="+mn-lt"/>
              </a:rPr>
              <a:t>.</a:t>
            </a:r>
          </a:p>
          <a:p>
            <a:pPr marL="285750" indent="-285750" algn="just">
              <a:buFont typeface="Arial"/>
              <a:buChar char="•"/>
            </a:pPr>
            <a:endParaRPr lang="en-US" sz="1600">
              <a:ea typeface="+mn-lt"/>
              <a:cs typeface="+mn-lt"/>
            </a:endParaRP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9C7AEF6E-992C-0F4E-DD35-C64A56B448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51414" y="509314"/>
            <a:ext cx="1057932" cy="105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245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1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 b="1"/>
              <a:t> </a:t>
            </a:r>
            <a:r>
              <a:rPr lang="da-DK" sz="1600"/>
              <a:t>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Valg af revisor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72510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Valg af revisor 202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2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B6429-EB7C-432F-B4E4-2BABD1841238}"/>
              </a:ext>
            </a:extLst>
          </p:cNvPr>
          <p:cNvSpPr txBox="1"/>
          <p:nvPr/>
        </p:nvSpPr>
        <p:spPr>
          <a:xfrm>
            <a:off x="538162" y="1363528"/>
            <a:ext cx="9743262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/>
              <a:t>ÅRSREGNSKABET REVIDERES OG GODKENDES HVERT ÅR AF EN AF SGRE UDVALGT REVISOR.</a:t>
            </a:r>
          </a:p>
          <a:p>
            <a:endParaRPr lang="en-GB" sz="1600"/>
          </a:p>
          <a:p>
            <a:r>
              <a:rPr lang="en-GB" sz="1600"/>
              <a:t>SAMTIDIG HAR MEDLEMMERNE MULIGHED FOR AT UDVÆLGE EN KRITISK REVISOR DER GENNEMSER ÅRSREGNSKABET PÅ VEGNE AF MEDLEMMER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5C9BD0-DEBA-441F-9811-E50C4D0B7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2" y="2848497"/>
            <a:ext cx="8460000" cy="3028427"/>
          </a:xfrm>
        </p:spPr>
        <p:txBody>
          <a:bodyPr/>
          <a:lstStyle/>
          <a:p>
            <a:r>
              <a:rPr lang="en-US" b="1" i="1"/>
              <a:t>Lene </a:t>
            </a:r>
            <a:r>
              <a:rPr lang="en-US" b="1" i="1" err="1"/>
              <a:t>Møllgaard</a:t>
            </a:r>
            <a:r>
              <a:rPr lang="en-US" b="1" i="1"/>
              <a:t> </a:t>
            </a:r>
            <a:r>
              <a:rPr lang="en-US" err="1"/>
              <a:t>tilbyder</a:t>
            </a:r>
            <a:r>
              <a:rPr lang="en-US"/>
              <a:t> at </a:t>
            </a:r>
            <a:r>
              <a:rPr lang="en-US" err="1"/>
              <a:t>være</a:t>
            </a:r>
            <a:r>
              <a:rPr lang="en-US"/>
              <a:t> </a:t>
            </a:r>
            <a:r>
              <a:rPr lang="en-US" err="1"/>
              <a:t>kritisk</a:t>
            </a:r>
            <a:r>
              <a:rPr lang="en-US"/>
              <a:t> revisor for </a:t>
            </a:r>
            <a:r>
              <a:rPr lang="en-US" err="1"/>
              <a:t>medlemmerne</a:t>
            </a:r>
            <a:r>
              <a:rPr lang="en-US"/>
              <a:t> </a:t>
            </a:r>
            <a:r>
              <a:rPr lang="en-US" err="1"/>
              <a:t>igen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00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3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Resultat af valg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14877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/>
              <a:t>Resultat af val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4</a:t>
            </a:fld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FEC16-E623-48C9-9672-CDEEC8F33320}"/>
              </a:ext>
            </a:extLst>
          </p:cNvPr>
          <p:cNvSpPr txBox="1"/>
          <p:nvPr/>
        </p:nvSpPr>
        <p:spPr>
          <a:xfrm>
            <a:off x="6167437" y="1223070"/>
            <a:ext cx="5269251" cy="39087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da-DK"/>
              <a:t>Bestyrelsespladser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/>
              <a:t>Michelle (50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Tabea (39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Vibeke (36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Dan (30) (lodtrækning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/>
          </a:p>
          <a:p>
            <a:pPr>
              <a:spcBef>
                <a:spcPts val="600"/>
              </a:spcBef>
            </a:pPr>
            <a:r>
              <a:rPr lang="da-DK"/>
              <a:t>1. Suppleant</a:t>
            </a: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Jan (30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/>
          </a:p>
          <a:p>
            <a:pPr>
              <a:spcBef>
                <a:spcPts val="600"/>
              </a:spcBef>
            </a:pPr>
            <a:r>
              <a:rPr lang="da-DK"/>
              <a:t>2. Suppleant</a:t>
            </a:r>
            <a:endParaRPr lang="da-DK"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>
                <a:cs typeface="Arial"/>
              </a:rPr>
              <a:t>Daniel (27)</a:t>
            </a:r>
          </a:p>
        </p:txBody>
      </p:sp>
    </p:spTree>
    <p:extLst>
      <p:ext uri="{BB962C8B-B14F-4D97-AF65-F5344CB8AC3E}">
        <p14:creationId xmlns:p14="http://schemas.microsoft.com/office/powerpoint/2010/main" val="24836311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23D01-EEED-3D4D-C4FE-43F41F2A6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2400" err="1"/>
              <a:t>Underholdning</a:t>
            </a:r>
            <a:r>
              <a:rPr lang="en-US" sz="2400"/>
              <a:t>: Thomas Mygind – </a:t>
            </a:r>
            <a:r>
              <a:rPr lang="en-US" sz="2400" err="1"/>
              <a:t>Genvej</a:t>
            </a:r>
            <a:r>
              <a:rPr lang="en-US" sz="2400"/>
              <a:t> </a:t>
            </a:r>
            <a:r>
              <a:rPr lang="en-US" sz="2400" err="1"/>
              <a:t>til</a:t>
            </a:r>
            <a:r>
              <a:rPr lang="en-US" sz="2400"/>
              <a:t> begejstring </a:t>
            </a:r>
            <a:endParaRPr lang="en-US" sz="2400">
              <a:cs typeface="Arial"/>
            </a:endParaRPr>
          </a:p>
        </p:txBody>
      </p:sp>
      <p:pic>
        <p:nvPicPr>
          <p:cNvPr id="6" name="Picture 6" descr="A person smoking a cigarette&#10;&#10;Description automatically generated">
            <a:extLst>
              <a:ext uri="{FF2B5EF4-FFF2-40B4-BE49-F238E27FC236}">
                <a16:creationId xmlns:a16="http://schemas.microsoft.com/office/drawing/2014/main" id="{64D28C2B-E460-E8B7-9677-4FE7A82BFC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7524"/>
          <a:stretch/>
        </p:blipFill>
        <p:spPr>
          <a:xfrm>
            <a:off x="6246810" y="1419225"/>
            <a:ext cx="5399089" cy="4452938"/>
          </a:xfrm>
          <a:noFill/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8DD37C-59C7-3B5F-6C68-FF44371028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30261" y="336080"/>
            <a:ext cx="622300" cy="2159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15D9B90-38D2-4E45-96DD-D92E9D2EA7D7}" type="slidenum">
              <a:rPr lang="da-DK" smtClean="0"/>
              <a:pPr>
                <a:spcAft>
                  <a:spcPts val="600"/>
                </a:spcAft>
              </a:pPr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70458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A3E6B4-5D0A-4682-8E37-8BE527F4F6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6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A3E6B4-5D0A-4682-8E37-8BE527F4F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9CFFEC-C97F-4015-BB00-142261497C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88ADA-8C37-43AB-89C9-1218A4231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378" y="2188660"/>
            <a:ext cx="4022796" cy="92333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br>
              <a:rPr lang="da-DK"/>
            </a:br>
            <a:br>
              <a:rPr lang="da-DK"/>
            </a:br>
            <a:endParaRPr lang="da-DK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880A8-F560-4971-93F0-7C14A34CF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258CE2-AABA-4F42-B387-690DFCF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36</a:t>
            </a:fld>
            <a:endParaRPr lang="da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EED0D6-AAEE-5666-403C-64B74F191C02}"/>
              </a:ext>
            </a:extLst>
          </p:cNvPr>
          <p:cNvSpPr txBox="1"/>
          <p:nvPr/>
        </p:nvSpPr>
        <p:spPr>
          <a:xfrm>
            <a:off x="3760305" y="2567608"/>
            <a:ext cx="506232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800" b="1">
                <a:cs typeface="Arial"/>
              </a:rPr>
              <a:t>Tak for </a:t>
            </a:r>
            <a:r>
              <a:rPr lang="en-US" sz="4800" b="1" err="1">
                <a:cs typeface="Arial"/>
              </a:rPr>
              <a:t>i</a:t>
            </a:r>
            <a:r>
              <a:rPr lang="en-US" sz="4800" b="1">
                <a:cs typeface="Arial"/>
              </a:rPr>
              <a:t> </a:t>
            </a:r>
            <a:r>
              <a:rPr lang="en-US" sz="4800" b="1" err="1">
                <a:cs typeface="Arial"/>
              </a:rPr>
              <a:t>aften</a:t>
            </a:r>
            <a:r>
              <a:rPr lang="en-US" sz="4800" b="1">
                <a:cs typeface="Arial"/>
              </a:rPr>
              <a:t>!</a:t>
            </a:r>
            <a:endParaRPr lang="en-US" sz="4800" b="1" err="1"/>
          </a:p>
        </p:txBody>
      </p:sp>
    </p:spTree>
    <p:extLst>
      <p:ext uri="{BB962C8B-B14F-4D97-AF65-F5344CB8AC3E}">
        <p14:creationId xmlns:p14="http://schemas.microsoft.com/office/powerpoint/2010/main" val="3176653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Formandens beretning – Taus Wind-Larsen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Møllebandens Events​ 2022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67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51E72-30EC-4BFC-8D3E-2097779D8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30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51E72-30EC-4BFC-8D3E-2097779D8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62CDB-8508-405E-BA3B-B4FD1801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5</a:t>
            </a:fld>
            <a:endParaRPr lang="da-DK"/>
          </a:p>
        </p:txBody>
      </p:sp>
      <p:pic>
        <p:nvPicPr>
          <p:cNvPr id="41989" name="Picture 5" descr="Image result for past looking back sign">
            <a:extLst>
              <a:ext uri="{FF2B5EF4-FFF2-40B4-BE49-F238E27FC236}">
                <a16:creationId xmlns:a16="http://schemas.microsoft.com/office/drawing/2014/main" id="{8117AEE1-82A1-4218-AFC5-5CA0C4CCE8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74"/>
          <a:stretch/>
        </p:blipFill>
        <p:spPr bwMode="auto">
          <a:xfrm>
            <a:off x="0" y="-32425"/>
            <a:ext cx="6169764" cy="689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2A2BFC-49FE-4E81-A31B-E79625429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15146" y="127166"/>
            <a:ext cx="2629194" cy="208914"/>
          </a:xfrm>
        </p:spPr>
        <p:txBody>
          <a:bodyPr/>
          <a:lstStyle/>
          <a:p>
            <a:r>
              <a:rPr lang="en-US" sz="1200" err="1">
                <a:solidFill>
                  <a:schemeClr val="bg1"/>
                </a:solidFill>
              </a:rPr>
              <a:t>Formandens</a:t>
            </a:r>
            <a:r>
              <a:rPr lang="en-US" sz="1200">
                <a:solidFill>
                  <a:schemeClr val="bg1"/>
                </a:solidFill>
              </a:rPr>
              <a:t> </a:t>
            </a:r>
            <a:r>
              <a:rPr lang="en-US" sz="1200" err="1">
                <a:solidFill>
                  <a:schemeClr val="bg1"/>
                </a:solidFill>
              </a:rPr>
              <a:t>beretning</a:t>
            </a:r>
            <a:r>
              <a:rPr lang="en-US" sz="1200">
                <a:solidFill>
                  <a:schemeClr val="bg1"/>
                </a:solidFill>
              </a:rPr>
              <a:t> for 2022</a:t>
            </a:r>
            <a:endParaRPr lang="da-DK" sz="1200">
              <a:solidFill>
                <a:schemeClr val="bg1"/>
              </a:solidFill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5692F8F-1529-4BFB-8453-4B66A5485E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5719969" y="385971"/>
            <a:ext cx="6912213" cy="603184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CE2AEB-7EE8-473F-8D24-FDFEC13E6DB1}"/>
              </a:ext>
            </a:extLst>
          </p:cNvPr>
          <p:cNvSpPr txBox="1"/>
          <p:nvPr/>
        </p:nvSpPr>
        <p:spPr>
          <a:xfrm>
            <a:off x="6261577" y="41038"/>
            <a:ext cx="4768684" cy="8891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err="1"/>
              <a:t>Tilbageblik</a:t>
            </a:r>
            <a:r>
              <a:rPr lang="en-US" sz="1200" b="1"/>
              <a:t> </a:t>
            </a:r>
            <a:r>
              <a:rPr lang="en-US" sz="1200" b="1" err="1"/>
              <a:t>på</a:t>
            </a:r>
            <a:r>
              <a:rPr lang="en-US" sz="1200" b="1"/>
              <a:t> 2022…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/>
              <a:t>Ny </a:t>
            </a:r>
            <a:r>
              <a:rPr lang="en-US" sz="1200" b="1" err="1"/>
              <a:t>hjemmeside</a:t>
            </a:r>
            <a:r>
              <a:rPr lang="en-US" sz="1200" b="1"/>
              <a:t> - </a:t>
            </a:r>
            <a:r>
              <a:rPr lang="en-US" sz="1200" b="1" err="1"/>
              <a:t>hård</a:t>
            </a:r>
            <a:r>
              <a:rPr lang="en-US" sz="1200" b="1"/>
              <a:t> </a:t>
            </a:r>
            <a:r>
              <a:rPr lang="en-US" sz="1200" b="1" err="1"/>
              <a:t>fødsel</a:t>
            </a:r>
            <a:endParaRPr lang="en-US" sz="1200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err="1">
                <a:cs typeface="Arial"/>
              </a:rPr>
              <a:t>Hårdt</a:t>
            </a:r>
            <a:r>
              <a:rPr lang="en-US" sz="1200" b="1">
                <a:cs typeface="Arial"/>
              </a:rPr>
              <a:t> </a:t>
            </a:r>
            <a:r>
              <a:rPr lang="en-US" sz="1200" b="1" err="1">
                <a:cs typeface="Arial"/>
              </a:rPr>
              <a:t>arbejde</a:t>
            </a:r>
            <a:endParaRPr lang="en-US" sz="1200" b="1"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88AA7DB-F81A-4E6A-B717-70855194D7EB}"/>
              </a:ext>
            </a:extLst>
          </p:cNvPr>
          <p:cNvSpPr txBox="1"/>
          <p:nvPr/>
        </p:nvSpPr>
        <p:spPr>
          <a:xfrm>
            <a:off x="9322395" y="41038"/>
            <a:ext cx="40920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/>
              <a:t>Nu og </a:t>
            </a:r>
            <a:r>
              <a:rPr lang="en-US" sz="1200" b="1" err="1"/>
              <a:t>igennem</a:t>
            </a:r>
            <a:r>
              <a:rPr lang="en-US" sz="1200" b="1"/>
              <a:t> 2023…</a:t>
            </a:r>
            <a:endParaRPr lang="en-US" sz="1200" b="1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err="1"/>
              <a:t>Forhåbentlig</a:t>
            </a:r>
            <a:r>
              <a:rPr lang="en-US" sz="1200" b="1"/>
              <a:t> </a:t>
            </a:r>
            <a:r>
              <a:rPr lang="en-US" sz="1200" b="1" err="1"/>
              <a:t>færdig</a:t>
            </a:r>
            <a:r>
              <a:rPr lang="en-US" sz="1200" b="1"/>
              <a:t> </a:t>
            </a:r>
            <a:r>
              <a:rPr lang="en-US" sz="1200" b="1" err="1"/>
              <a:t>hjemmeside</a:t>
            </a:r>
            <a:endParaRPr lang="en-US" sz="1200" b="1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err="1">
                <a:cs typeface="Arial"/>
              </a:rPr>
              <a:t>Mindre</a:t>
            </a:r>
            <a:r>
              <a:rPr lang="en-US" sz="1200" b="1">
                <a:cs typeface="Arial"/>
              </a:rPr>
              <a:t> </a:t>
            </a:r>
            <a:r>
              <a:rPr lang="en-US" sz="1200" b="1" err="1">
                <a:cs typeface="Arial"/>
              </a:rPr>
              <a:t>manuelt</a:t>
            </a:r>
            <a:r>
              <a:rPr lang="en-US" sz="1200" b="1">
                <a:cs typeface="Arial"/>
              </a:rPr>
              <a:t> </a:t>
            </a:r>
            <a:r>
              <a:rPr lang="en-US" sz="1200" b="1" err="1">
                <a:cs typeface="Arial"/>
              </a:rPr>
              <a:t>arbejde</a:t>
            </a:r>
            <a:endParaRPr lang="en-US" sz="1200" b="1">
              <a:cs typeface="Arial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755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1FD7A-6B81-4A2C-A69F-E9E0FBC21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1FD7A-6B81-4A2C-A69F-E9E0FBC21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329A1D-5733-4D01-B538-36178393A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29B1F-D274-4F54-A777-B1BCA3CBC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/>
              <a:t>Generalforsamling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A9CEE5-7D8B-43B0-B874-E8865ACD0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CCB7D8A-828C-4A5A-87D9-D3FD263901E9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38162" y="1091988"/>
            <a:ext cx="7989612" cy="4464050"/>
          </a:xfrm>
        </p:spPr>
        <p:txBody>
          <a:bodyPr/>
          <a:lstStyle/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0 	Velkomst</a:t>
            </a:r>
            <a:endParaRPr lang="da-DK" sz="1600" i="1"/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6.35 	Generalforsamling ifølge dagsordenen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dirigent​ og valg af stemmetællere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Formandens beretning</a:t>
            </a: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b="1"/>
              <a:t>Møllebandens Events​ 2022 – Michelle Lynnerup</a:t>
            </a:r>
            <a:endParaRPr lang="da-DK" sz="1600" b="1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 i="1"/>
              <a:t>	</a:t>
            </a:r>
            <a:r>
              <a:rPr lang="da-DK" sz="1600"/>
              <a:t>Hjemmeside status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gnskab &amp; Budget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Indkomne forsla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bestyrelsesmedl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7.45	Spisnin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8.30 	Generalforsamling fortsat &amp; optælling af stemme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</a:t>
            </a:r>
            <a:r>
              <a:rPr lang="da-DK" sz="1600" err="1"/>
              <a:t>Eventmaker</a:t>
            </a:r>
            <a:r>
              <a:rPr lang="da-DK" sz="1600"/>
              <a:t> community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Valg af revisor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	Resultat af valg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19.00 	Underholdning ved Thomas Mygind </a:t>
            </a:r>
            <a:endParaRPr lang="da-DK" sz="1600">
              <a:cs typeface="Arial"/>
            </a:endParaRPr>
          </a:p>
          <a:p>
            <a:pPr>
              <a:spcBef>
                <a:spcPts val="600"/>
              </a:spcBef>
              <a:tabLst>
                <a:tab pos="1789113" algn="l"/>
              </a:tabLst>
            </a:pPr>
            <a:r>
              <a:rPr lang="da-DK" sz="1600"/>
              <a:t>Kl. 20.00	Tak for i aften (forventet tidspunkt)</a:t>
            </a:r>
            <a:endParaRPr lang="da-DK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835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93D8B-2CF1-4A92-9E41-B12516C247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94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93D8B-2CF1-4A92-9E41-B12516C2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7FD221-A9E2-4D0B-BD27-3C78FCF3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1" y="3050460"/>
            <a:ext cx="9898295" cy="2943939"/>
          </a:xfrm>
        </p:spPr>
        <p:txBody>
          <a:bodyPr vert="horz">
            <a:noAutofit/>
          </a:bodyPr>
          <a:lstStyle/>
          <a:p>
            <a:pPr algn="ctr"/>
            <a:r>
              <a:rPr lang="da-DK" sz="9600" b="1" i="1">
                <a:latin typeface="Comic Sans MS"/>
              </a:rPr>
              <a:t>EVENTS 2022</a:t>
            </a:r>
            <a:endParaRPr lang="da-DK" sz="9600" b="1" i="1">
              <a:latin typeface="Comic Sans MS" panose="030F0702030302020204" pitchFamily="66" charset="0"/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FBD4355-6B08-4F0A-835B-3CB105FC4A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1478"/>
          <a:stretch/>
        </p:blipFill>
        <p:spPr>
          <a:xfrm>
            <a:off x="311999" y="1182030"/>
            <a:ext cx="6513674" cy="186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41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1041FD-AE6C-4A2B-966F-8122E35DA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18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1041FD-AE6C-4A2B-966F-8122E35DA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70F15DE-AA3E-4D6B-9342-CB30FBAE8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2" y="300942"/>
            <a:ext cx="10693702" cy="569345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2400" b="1" i="1">
                <a:latin typeface="Comic Sans MS"/>
              </a:rPr>
              <a:t>Godkendte events 2022  116</a:t>
            </a:r>
            <a:br>
              <a:rPr lang="da-DK" sz="2400" b="1" i="1">
                <a:latin typeface="Comic Sans MS"/>
              </a:rPr>
            </a:br>
            <a:r>
              <a:rPr lang="da-DK" b="1" i="1">
                <a:latin typeface="Comic Sans MS"/>
              </a:rPr>
              <a:t>GENNEMFØRTE EVENTS 2022     94</a:t>
            </a:r>
            <a:br>
              <a:rPr lang="da-DK" b="1" i="1">
                <a:latin typeface="Comic Sans MS"/>
              </a:rPr>
            </a:br>
            <a:r>
              <a:rPr lang="da-DK" b="1" i="1">
                <a:latin typeface="Comic Sans MS"/>
              </a:rPr>
              <a:t> </a:t>
            </a:r>
            <a:br>
              <a:rPr lang="da-DK" b="1" i="1">
                <a:latin typeface="Comic Sans MS" panose="030F0702030302020204" pitchFamily="66" charset="0"/>
              </a:rPr>
            </a:br>
            <a:br>
              <a:rPr lang="da-DK" b="1" i="1">
                <a:latin typeface="Comic Sans MS"/>
              </a:rPr>
            </a:br>
            <a:br>
              <a:rPr lang="da-DK" sz="2400" b="1" i="1">
                <a:latin typeface="Comic Sans MS"/>
              </a:rPr>
            </a:br>
            <a:r>
              <a:rPr lang="da-DK" sz="2400" b="1" i="1">
                <a:latin typeface="Comic Sans MS"/>
              </a:rPr>
              <a:t>          </a:t>
            </a:r>
            <a:br>
              <a:rPr lang="da-DK" sz="2400" b="1" i="1">
                <a:latin typeface="Comic Sans MS"/>
              </a:rPr>
            </a:br>
            <a:r>
              <a:rPr lang="da-DK" sz="2400" b="1" i="1">
                <a:latin typeface="Comic Sans MS"/>
              </a:rPr>
              <a:t>  </a:t>
            </a:r>
            <a:r>
              <a:rPr lang="da-DK" b="1" i="1">
                <a:latin typeface="Comic Sans MS"/>
              </a:rPr>
              <a:t>gennemførte events 2021       49</a:t>
            </a:r>
            <a:br>
              <a:rPr lang="da-DK" b="1" i="1">
                <a:latin typeface="Comic Sans MS"/>
              </a:rPr>
            </a:br>
            <a:r>
              <a:rPr lang="da-DK" sz="2400" b="1" i="1">
                <a:latin typeface="Comic Sans MS"/>
              </a:rPr>
              <a:t>  gennemførte events 2020       30</a:t>
            </a:r>
            <a:r>
              <a:rPr lang="da-DK" sz="1600"/>
              <a:t>	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116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5" y="2"/>
            <a:ext cx="12192000" cy="685800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19" name="Snip Diagonal Corner Rectangle 6">
            <a:extLst>
              <a:ext uri="{FF2B5EF4-FFF2-40B4-BE49-F238E27FC236}">
                <a16:creationId xmlns:a16="http://schemas.microsoft.com/office/drawing/2014/main" id="{2D5EEA8B-2D86-4D1D-96B3-6B82903037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25" y="2"/>
            <a:ext cx="12191075" cy="6857998"/>
          </a:xfrm>
          <a:prstGeom prst="snip2DiagRect">
            <a:avLst>
              <a:gd name="adj1" fmla="val 0"/>
              <a:gd name="adj2" fmla="val 37605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BAC49B-5E20-4AB4-8229-4C22BC73E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645" y="685799"/>
            <a:ext cx="8001000" cy="297180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800" b="1" i="1">
                <a:latin typeface="Comic Sans MS"/>
              </a:rPr>
              <a:t>2021</a:t>
            </a:r>
            <a:br>
              <a:rPr lang="en-US" sz="4800" b="1" i="1">
                <a:latin typeface="Comic Sans MS"/>
              </a:rPr>
            </a:br>
            <a:r>
              <a:rPr lang="en-US" sz="4800" b="1" i="1">
                <a:latin typeface="Comic Sans MS"/>
              </a:rPr>
              <a:t>IALT 2.526 DELTAGERE</a:t>
            </a:r>
            <a:br>
              <a:rPr lang="en-US" sz="4800" b="1" i="1">
                <a:latin typeface="Comic Sans MS" panose="030F0702030302020204" pitchFamily="66" charset="0"/>
              </a:rPr>
            </a:br>
            <a:endParaRPr lang="en-US" sz="2000" b="1" i="1">
              <a:latin typeface="Comic Sans MS" panose="030F0702030302020204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6D3795-4130-41B5-A393-34B028EEB716}"/>
              </a:ext>
            </a:extLst>
          </p:cNvPr>
          <p:cNvSpPr txBox="1"/>
          <p:nvPr/>
        </p:nvSpPr>
        <p:spPr>
          <a:xfrm>
            <a:off x="1225421" y="3200400"/>
            <a:ext cx="8979157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i="1">
                <a:latin typeface="Comic Sans MS"/>
              </a:rPr>
              <a:t>2022</a:t>
            </a:r>
            <a:endParaRPr lang="en-US" sz="18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omic Sans MS"/>
                <a:ea typeface="+mn-ea"/>
                <a:cs typeface="+mn-cs"/>
              </a:rPr>
              <a:t>I ALT </a:t>
            </a:r>
            <a:r>
              <a:rPr lang="en-US" sz="4800" b="1" i="1">
                <a:latin typeface="Comic Sans MS"/>
              </a:rPr>
              <a:t>3.923</a:t>
            </a:r>
            <a:r>
              <a:rPr kumimoji="0" lang="en-US" sz="480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omic Sans MS"/>
                <a:ea typeface="+mn-ea"/>
                <a:cs typeface="+mn-cs"/>
              </a:rPr>
              <a:t> DELTAGERE</a:t>
            </a:r>
            <a:endParaRPr lang="en-US" sz="48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69205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ARTICULATE_SLIDE_THUMBNAIL_REFRESH" val="1"/>
  <p:tag name="ARTICULATE_PROJECT_OPEN" val="0"/>
  <p:tag name="ARTICULATE_SLIDE_COUNT" val="44"/>
  <p:tag name="THINKCELLPRESENTATIONDONOTDELETE" val="&lt;?xml version=&quot;1.0&quot; encoding=&quot;UTF-16&quot; standalone=&quot;yes&quot;?&gt;&lt;root reqver=&quot;27037&quot;&gt;&lt;version val=&quot;325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f4fM9SByfOuSfaxjd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vLjN6QQawTftKmnuv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CINkVKS5KBV0_6zvMF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o2YQAuR0SptSTRjMVhB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_FruaSgk9vtlNjPtCdD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KFk4FK22Dp4fqYUxiSW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4iw9cNTVShMMjZXp.C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s0a5BSUWuT2iGz22X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AJUyEuQR.CxsxEunur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G9.3vTfu36JbeAXFej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CWt2oU0WhlKRJ2Hvw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P4vPVmt2dMxA4yABX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fDoC5yddXP025OGCFc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VHeD5Lsltod14cW3E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5NQVuPZ5V9Pr3sgV8O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EhUaz2sMupSlpeMZZ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6W8tolKoilKAcJ4VQ26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4Tv1XNAvzJu6FSW.P_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nhppn6NkPJuIAFSbD_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OvHAB5TWyTg5Tkfpi8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hzVS5L_Q03MoV5.iL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Qy7L.1qFrvnQQAEIHV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fXV5tPiS6oiAYQ0Ckp1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u_qJmKl4cL9iGClNiV9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oK2SgMHl2qMzKVccYKW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QWIP6oy_2BGkde438da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.AVnFcx5k.Gm8zK11Mt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r3iGDvDEtA7sKcMi2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6P36I6ESx2wMByVx98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5W5zONdEGcZ25Cn1C8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jv9PrPju7Zc6PvaGGf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sjn.tSY.aXBdY5hF4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SV3DstNmj84gNNYvZhA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1sEUpnB6N.KJpTkmS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6vmNXqjFglMECDYbq3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AzBGOMuEcZCSVq0MI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53PC16SrCINaSYAnPvL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Cvy1HR3mUZkUOxdl9Y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6NAh_7SpFbNd7aAE.z_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Cv781OiTAQ_woq9Zb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wCUJ3Q1a9Yw1Z..kS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EvPdeMSJTPuzdTewmk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Y0Vvc3qoQetNwqglY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SR5wBwPBgEH5ufoF9DU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8khbuItUi6RHZy4xHb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yQoLPccJpD2lYR.Hg5Y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IQFq7FWv8zC0onT4n5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YnM4PTAE_sJ4mvmie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VADiPLK2GfBzTZxwV2x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wZixGSjh75P2tjO7kp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.k6urlTdaJjpta0c838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BWZpMRMaXw3_ImRcXD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XPYpKTg21wMoU_CLz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oAsN47UTRSN0cNu3yw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otXDFBNbvr7KC2d9Cfj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bX8cHQQirmwCw06YJz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78dSMCRv6go7qxROnj0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MYi1kyTaymS8w2Yej_e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09LYm.QIS99V3Xtd1_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cI7i_RfWJKGX8QRyLz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HZfU9nM9H86RwoIUeR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MFTNfEyUKDI_qnvex7N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FAVQYB8eoi2out3NZ0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XqKa9aYIWY4vz7xMUk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qu4sUESlim1Wlwp9cv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EpKxjo_VBazk.hEpIE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T1Ec4BAn6Vik63UEUe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CyAkS6AQqCa6oXe2UU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vg8.hqScH8rdeCL8o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17Ouk5bgn9ZoeIKqUEy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MWg7YuHol9_.28JWt1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qSydj6xxZcONOjWRM_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O3sOvWrPxMy9_K5t9S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wqceg5JuC72gQlRw_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lFK7LVylhzTbZpQI1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zVlMv4BayKT6LfR4O7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RFQ1lVRMOvnxRQTU_5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XCG18Qm6rH3dW1uS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hvTGhPRaOoJZP0s1I0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eMXxpS4677eqVBeo_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5QYhSMiM8wb1cNR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PTPGPSLq32bV5fcmZ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Xt.vlQC.WFCH.E8jT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lR8KLRB6sy3LQHfZM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i.8DxSECKM1EKb_re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XBeVCQ5SaErr5noLQ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obzFvQq21QgKtRu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rjxF2TEaqIRRRp4oc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oEJkkQAanRhwXfGcA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DXrvuTcuRSIHPbtH.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.vmZEDSWikfAdPffFz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5Yt6zSyWXCC8ftH92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UdhWaT9Kpo5RoBd38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hiQXNT1SyvY5JCzOw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GW8DVQTeNX_xjUH3Z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5xpIG6T5ZqutWmNK3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K_dUvWRNuA9NFGkdHB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XILO9RHivikFGPRg_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67u6_KSeQT61mmJh7Z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gDpX08.2xtd_begOW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pYTmXrlrbfgfgxi1nX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HHaMJjT4MmwdK._GYx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1r271mtHsvrh6Vrth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AmuE8Kachiqqr8b4uv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YhlgNz1N0fle.2C3_xpQ"/>
</p:tagLst>
</file>

<file path=ppt/theme/theme1.xml><?xml version="1.0" encoding="utf-8"?>
<a:theme xmlns:a="http://schemas.openxmlformats.org/drawingml/2006/main" name="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160817_SG_Presentation_LegalName_v4.potx" id="{A287F18D-E658-4355-9FF6-9770FA9F2EB6}" vid="{6A43E3E4-73DB-420F-9111-E976A9BC7CB7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321850"/>
      </a:hlink>
      <a:folHlink>
        <a:srgbClr val="954F72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7a09f094-dfef-497e-9e0f-bd9f04c01edb">2022</Year>
    <SharedWithUsers xmlns="bc4357c8-f86f-42d6-9392-2cb66fb1bce7">
      <UserInfo>
        <DisplayName>Rahbek, Lars (SGRE COG P OF PP PCO)</DisplayName>
        <AccountId>28</AccountId>
        <AccountType/>
      </UserInfo>
      <UserInfo>
        <DisplayName>Lausten, Xenia (SGRE OF PPM DD PDM 1)</DisplayName>
        <AccountId>3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6FB1D8A736374FA50B06C999FEE8C3" ma:contentTypeVersion="12" ma:contentTypeDescription="Create a new document." ma:contentTypeScope="" ma:versionID="cefe40253c61bfd19b4234dd6f5413da">
  <xsd:schema xmlns:xsd="http://www.w3.org/2001/XMLSchema" xmlns:xs="http://www.w3.org/2001/XMLSchema" xmlns:p="http://schemas.microsoft.com/office/2006/metadata/properties" xmlns:ns2="7a09f094-dfef-497e-9e0f-bd9f04c01edb" xmlns:ns3="bc4357c8-f86f-42d6-9392-2cb66fb1bce7" targetNamespace="http://schemas.microsoft.com/office/2006/metadata/properties" ma:root="true" ma:fieldsID="d921377e86e4a6bcb59db506a1561bb8" ns2:_="" ns3:_="">
    <xsd:import namespace="7a09f094-dfef-497e-9e0f-bd9f04c01edb"/>
    <xsd:import namespace="bc4357c8-f86f-42d6-9392-2cb66fb1bce7"/>
    <xsd:element name="properties">
      <xsd:complexType>
        <xsd:sequence>
          <xsd:element name="documentManagement">
            <xsd:complexType>
              <xsd:all>
                <xsd:element ref="ns2:Year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09f094-dfef-497e-9e0f-bd9f04c01edb" elementFormDefault="qualified">
    <xsd:import namespace="http://schemas.microsoft.com/office/2006/documentManagement/types"/>
    <xsd:import namespace="http://schemas.microsoft.com/office/infopath/2007/PartnerControls"/>
    <xsd:element name="Year" ma:index="8" nillable="true" ma:displayName="Year" ma:description="pls. enter the year the annual meeting is prepared for" ma:format="Dropdown" ma:internalName="Year">
      <xsd:simpleType>
        <xsd:restriction base="dms:Choice">
          <xsd:enumeration value="2020"/>
          <xsd:enumeration value="2019"/>
          <xsd:enumeration value="2018"/>
          <xsd:enumeration value="2017"/>
          <xsd:enumeration value="previous"/>
          <xsd:enumeration value="2021"/>
          <xsd:enumeration value="2022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357c8-f86f-42d6-9392-2cb66fb1bc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6646C-4D58-4E7B-BED6-4A4156CBE8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158988-F4E5-431F-8342-37A38EF70E7A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c4357c8-f86f-42d6-9392-2cb66fb1bce7"/>
    <ds:schemaRef ds:uri="http://purl.org/dc/elements/1.1/"/>
    <ds:schemaRef ds:uri="7a09f094-dfef-497e-9e0f-bd9f04c01ed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2BD1863-A4C2-4336-9E7D-133D2D32F9A4}"/>
</file>

<file path=docProps/app.xml><?xml version="1.0" encoding="utf-8"?>
<Properties xmlns="http://schemas.openxmlformats.org/officeDocument/2006/extended-properties" xmlns:vt="http://schemas.openxmlformats.org/officeDocument/2006/docPropsVTypes">
  <Template>160817_SG_Presentation_LegalName</Template>
  <TotalTime>0</TotalTime>
  <Words>3484</Words>
  <Application>Microsoft Office PowerPoint</Application>
  <PresentationFormat>Widescreen</PresentationFormat>
  <Paragraphs>746</Paragraphs>
  <Slides>36</Slides>
  <Notes>2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160817_SG_Presentation_LegalName</vt:lpstr>
      <vt:lpstr>Slice</vt:lpstr>
      <vt:lpstr>Generalforsamling 2023</vt:lpstr>
      <vt:lpstr>Agenda</vt:lpstr>
      <vt:lpstr>Valg af dirigent og valg af stemmetællere</vt:lpstr>
      <vt:lpstr>Agenda</vt:lpstr>
      <vt:lpstr>PowerPoint Presentation</vt:lpstr>
      <vt:lpstr>Agenda</vt:lpstr>
      <vt:lpstr>EVENTS 2022</vt:lpstr>
      <vt:lpstr>Godkendte events 2022  116 GENNEMFØRTE EVENTS 2022     94                  gennemførte events 2021       49   gennemførte events 2020       30 </vt:lpstr>
      <vt:lpstr>2021 IALT 2.526 DELTAGERE </vt:lpstr>
      <vt:lpstr>AFLYST                    23 (ski, koncert, FOREDRAG, beton, jagt, ure, lego house, mtb, bio, spise, øl, yoga, baboon) Teater                          7 vin smagning                4 koncert                        9 Golf                             6 motion                    7 (yoga, fodbold, mtb, padel tennis, aqua o.s.v.) spise                           8 foredrag                     12 kørekursus                   1 bio                             5 jul                             2 escape room                 1 tivoli / sommerland      2 keramikmaling              1 spa / welness               5 blomster                     7 gokart                        2  ZZov m hajer                1 paintball                     1 familiedage                  3 (vindmølle safari / naturkraft) ladies night                   1 cirkus                            1  skitur                            1</vt:lpstr>
      <vt:lpstr>EVENTMAKERaften </vt:lpstr>
      <vt:lpstr>PowerPoint Presentation</vt:lpstr>
      <vt:lpstr>Agenda</vt:lpstr>
      <vt:lpstr>Hjemmeside status</vt:lpstr>
      <vt:lpstr>Agenda</vt:lpstr>
      <vt:lpstr>Regnskab &amp; Budget</vt:lpstr>
      <vt:lpstr>Regnskab &amp; Budget</vt:lpstr>
      <vt:lpstr>Regnskab &amp; Budget</vt:lpstr>
      <vt:lpstr>Agenda</vt:lpstr>
      <vt:lpstr>Indkomne forslag</vt:lpstr>
      <vt:lpstr>Agenda</vt:lpstr>
      <vt:lpstr>Valg af bestyrelsesmedlemmer​</vt:lpstr>
      <vt:lpstr>PowerPoint Presentation</vt:lpstr>
      <vt:lpstr>PowerPoint Presentation</vt:lpstr>
      <vt:lpstr>Valg af bestyrelsesmedlemmer​</vt:lpstr>
      <vt:lpstr>Agenda</vt:lpstr>
      <vt:lpstr>Events 2022:</vt:lpstr>
      <vt:lpstr>Agenda</vt:lpstr>
      <vt:lpstr>Agenda</vt:lpstr>
      <vt:lpstr>Event maker community</vt:lpstr>
      <vt:lpstr>Agenda</vt:lpstr>
      <vt:lpstr>Valg af revisor 2023</vt:lpstr>
      <vt:lpstr>Agenda</vt:lpstr>
      <vt:lpstr>Resultat af valg</vt:lpstr>
      <vt:lpstr>Underholdning: Thomas Mygind – Genvej til begejstring </vt:lpstr>
      <vt:lpstr>  </vt:lpstr>
    </vt:vector>
  </TitlesOfParts>
  <Company>Siemens Gamesa Renewable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Gamesa Renewable Energy</dc:title>
  <dc:creator>Schadwinkel, Tabea (SGRE OF CF S&amp;PR CSE TTS)</dc:creator>
  <cp:lastModifiedBy>Wind-Larsen, Taus (SGRE TE N NT SYC&amp;MAT)</cp:lastModifiedBy>
  <cp:revision>5</cp:revision>
  <cp:lastPrinted>2022-02-23T08:40:59Z</cp:lastPrinted>
  <dcterms:created xsi:type="dcterms:W3CDTF">2017-09-08T14:42:31Z</dcterms:created>
  <dcterms:modified xsi:type="dcterms:W3CDTF">2023-10-19T11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D395587-81CA-45E9-9C79-FEC8D24D0516</vt:lpwstr>
  </property>
  <property fmtid="{D5CDD505-2E9C-101B-9397-08002B2CF9AE}" pid="3" name="ArticulatePath">
    <vt:lpwstr>Präsentation1</vt:lpwstr>
  </property>
  <property fmtid="{D5CDD505-2E9C-101B-9397-08002B2CF9AE}" pid="4" name="_AdHocReviewCycleID">
    <vt:i4>642383614</vt:i4>
  </property>
  <property fmtid="{D5CDD505-2E9C-101B-9397-08002B2CF9AE}" pid="5" name="_NewReviewCycle">
    <vt:lpwstr/>
  </property>
  <property fmtid="{D5CDD505-2E9C-101B-9397-08002B2CF9AE}" pid="6" name="_EmailSubject">
    <vt:lpwstr>PPT master</vt:lpwstr>
  </property>
  <property fmtid="{D5CDD505-2E9C-101B-9397-08002B2CF9AE}" pid="7" name="_AuthorEmail">
    <vt:lpwstr>sanne.petersen@siemens.com</vt:lpwstr>
  </property>
  <property fmtid="{D5CDD505-2E9C-101B-9397-08002B2CF9AE}" pid="8" name="_AuthorEmailDisplayName">
    <vt:lpwstr>Petersen, Sanne Frimor (WP CC IC)</vt:lpwstr>
  </property>
  <property fmtid="{D5CDD505-2E9C-101B-9397-08002B2CF9AE}" pid="9" name="_PreviousAdHocReviewCycleID">
    <vt:i4>-847589312</vt:i4>
  </property>
  <property fmtid="{D5CDD505-2E9C-101B-9397-08002B2CF9AE}" pid="10" name="ContentTypeId">
    <vt:lpwstr>0x010100E26FB1D8A736374FA50B06C999FEE8C3</vt:lpwstr>
  </property>
  <property fmtid="{D5CDD505-2E9C-101B-9397-08002B2CF9AE}" pid="11" name="MSIP_Label_6013f521-439d-4e48-8e98-41ab6c596aa7_Enabled">
    <vt:lpwstr>true</vt:lpwstr>
  </property>
  <property fmtid="{D5CDD505-2E9C-101B-9397-08002B2CF9AE}" pid="12" name="MSIP_Label_6013f521-439d-4e48-8e98-41ab6c596aa7_SetDate">
    <vt:lpwstr>2021-02-17T15:00:17Z</vt:lpwstr>
  </property>
  <property fmtid="{D5CDD505-2E9C-101B-9397-08002B2CF9AE}" pid="13" name="MSIP_Label_6013f521-439d-4e48-8e98-41ab6c596aa7_Method">
    <vt:lpwstr>Standard</vt:lpwstr>
  </property>
  <property fmtid="{D5CDD505-2E9C-101B-9397-08002B2CF9AE}" pid="14" name="MSIP_Label_6013f521-439d-4e48-8e98-41ab6c596aa7_Name">
    <vt:lpwstr>6013f521-439d-4e48-8e98-41ab6c596aa7</vt:lpwstr>
  </property>
  <property fmtid="{D5CDD505-2E9C-101B-9397-08002B2CF9AE}" pid="15" name="MSIP_Label_6013f521-439d-4e48-8e98-41ab6c596aa7_SiteId">
    <vt:lpwstr>12f921d8-f30d-4596-a652-7045b338485a</vt:lpwstr>
  </property>
  <property fmtid="{D5CDD505-2E9C-101B-9397-08002B2CF9AE}" pid="16" name="MSIP_Label_6013f521-439d-4e48-8e98-41ab6c596aa7_ActionId">
    <vt:lpwstr/>
  </property>
  <property fmtid="{D5CDD505-2E9C-101B-9397-08002B2CF9AE}" pid="17" name="MSIP_Label_6013f521-439d-4e48-8e98-41ab6c596aa7_ContentBits">
    <vt:lpwstr>0</vt:lpwstr>
  </property>
</Properties>
</file>